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5475" r:id="rId4"/>
  </p:sldMasterIdLst>
  <p:notesMasterIdLst>
    <p:notesMasterId r:id="rId18"/>
  </p:notesMasterIdLst>
  <p:handoutMasterIdLst>
    <p:handoutMasterId r:id="rId19"/>
  </p:handoutMasterIdLst>
  <p:sldIdLst>
    <p:sldId id="533" r:id="rId5"/>
    <p:sldId id="870" r:id="rId6"/>
    <p:sldId id="875" r:id="rId7"/>
    <p:sldId id="876" r:id="rId8"/>
    <p:sldId id="846" r:id="rId9"/>
    <p:sldId id="871" r:id="rId10"/>
    <p:sldId id="872" r:id="rId11"/>
    <p:sldId id="868" r:id="rId12"/>
    <p:sldId id="869" r:id="rId13"/>
    <p:sldId id="877" r:id="rId14"/>
    <p:sldId id="873" r:id="rId15"/>
    <p:sldId id="874" r:id="rId16"/>
    <p:sldId id="867" r:id="rId17"/>
  </p:sldIdLst>
  <p:sldSz cx="12192000" cy="6858000"/>
  <p:notesSz cx="9926638" cy="6797675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CABB810-49A9-184E-D709-5686371A7706}" name="Sarabjit Singh Chadha" initials="SSC" userId="S::Sarabjit.Chadha@finddx.org::a7e2896c-c10b-4d5a-a518-22b7063b46fa" providerId="AD"/>
  <p188:author id="{12682632-A016-E4B1-8DFD-2D029988CF30}" name="Sikha Panda" initials="SP" userId="S::Sikha.Panda@finddx.org::8ffbd656-6f06-482d-84fc-dc7162f905cc" providerId="AD"/>
  <p188:author id="{538C253F-5209-0BF5-4DBE-7C874D562797}" name="Shubhada Shenai" initials="SS" userId="S::Shubhada.Shenai@finddx.org::9076908a-6e99-4edd-80de-1f7b5187c2d4" providerId="AD"/>
  <p188:author id="{AB5A2EB2-9B8B-EC45-695E-40A4F5FCB783}" name="Pooja Srivastava" initials="PS" userId="S::Pooja.Srivastava@finddx.org::cef25191-5c21-41d5-bd8b-3c30417c0004" providerId="AD"/>
  <p188:author id="{666037CE-2BC8-103B-9115-CB3CADCBDE30}" name="Tarak GShah" initials="TG" userId="S::Tarak.GShah@finddx.org::0efee70e-6e36-46a2-be46-607be09e541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uihaume, Tiphaine" initials="GT" lastIdx="1" clrIdx="0">
    <p:extLst>
      <p:ext uri="{19B8F6BF-5375-455C-9EA6-DF929625EA0E}">
        <p15:presenceInfo xmlns:p15="http://schemas.microsoft.com/office/powerpoint/2012/main" userId="Guihaume, Tiphaine" providerId="None"/>
      </p:ext>
    </p:extLst>
  </p:cmAuthor>
  <p:cmAuthor id="2" name="Morten Ruhwald" initials="MR" lastIdx="2" clrIdx="1">
    <p:extLst>
      <p:ext uri="{19B8F6BF-5375-455C-9EA6-DF929625EA0E}">
        <p15:presenceInfo xmlns:p15="http://schemas.microsoft.com/office/powerpoint/2012/main" userId="Morten Ruhwald" providerId="None"/>
      </p:ext>
    </p:extLst>
  </p:cmAuthor>
  <p:cmAuthor id="3" name="Sarah Nogaro" initials="SN" lastIdx="31" clrIdx="2">
    <p:extLst>
      <p:ext uri="{19B8F6BF-5375-455C-9EA6-DF929625EA0E}">
        <p15:presenceInfo xmlns:p15="http://schemas.microsoft.com/office/powerpoint/2012/main" userId="S::Sarah.Nogaro@finddx.org::cad2f3ff-81c2-49d3-9bee-4c5d604850df" providerId="AD"/>
      </p:ext>
    </p:extLst>
  </p:cmAuthor>
  <p:cmAuthor id="4" name="Dziedzom Komi DE SOUZA" initials="DKDS" lastIdx="5" clrIdx="3">
    <p:extLst>
      <p:ext uri="{19B8F6BF-5375-455C-9EA6-DF929625EA0E}">
        <p15:presenceInfo xmlns:p15="http://schemas.microsoft.com/office/powerpoint/2012/main" userId="S::DziedzomKomi.DESOUZA@Finddx.org::7ac39cd6-5acb-435a-9f04-fb1043c5a2a2" providerId="AD"/>
      </p:ext>
    </p:extLst>
  </p:cmAuthor>
  <p:cmAuthor id="5" name="Tatiana Letsko" initials="TL" lastIdx="1" clrIdx="4">
    <p:extLst>
      <p:ext uri="{19B8F6BF-5375-455C-9EA6-DF929625EA0E}">
        <p15:presenceInfo xmlns:p15="http://schemas.microsoft.com/office/powerpoint/2012/main" userId="S::Tatiana.Letsko@Finddx.org::a6cb2b95-6f96-4c98-bbb5-ef102aa349fb" providerId="AD"/>
      </p:ext>
    </p:extLst>
  </p:cmAuthor>
  <p:cmAuthor id="6" name="Sylvain Bieler" initials="SB" lastIdx="3" clrIdx="5">
    <p:extLst>
      <p:ext uri="{19B8F6BF-5375-455C-9EA6-DF929625EA0E}">
        <p15:presenceInfo xmlns:p15="http://schemas.microsoft.com/office/powerpoint/2012/main" userId="S::Sylvain.Bieler@finddx.org::a37712c3-e8a0-4e16-8c22-5fd8fb779163" providerId="AD"/>
      </p:ext>
    </p:extLst>
  </p:cmAuthor>
  <p:cmAuthor id="7" name="Albert Picado De Puig" initials="APDP" lastIdx="3" clrIdx="6">
    <p:extLst>
      <p:ext uri="{19B8F6BF-5375-455C-9EA6-DF929625EA0E}">
        <p15:presenceInfo xmlns:p15="http://schemas.microsoft.com/office/powerpoint/2012/main" userId="S-1-5-21-758399636-2987204155-3505288178-4660" providerId="AD"/>
      </p:ext>
    </p:extLst>
  </p:cmAuthor>
  <p:cmAuthor id="8" name="Maël Redard" initials="MR" lastIdx="1" clrIdx="7">
    <p:extLst>
      <p:ext uri="{19B8F6BF-5375-455C-9EA6-DF929625EA0E}">
        <p15:presenceInfo xmlns:p15="http://schemas.microsoft.com/office/powerpoint/2012/main" userId="S::Mael.Redard@finddx.org::c2364de1-a1f0-490d-8ae0-9c9d5b5f0ba6" providerId="AD"/>
      </p:ext>
    </p:extLst>
  </p:cmAuthor>
  <p:cmAuthor id="9" name="Albert" initials="A" lastIdx="3" clrIdx="8">
    <p:extLst>
      <p:ext uri="{19B8F6BF-5375-455C-9EA6-DF929625EA0E}">
        <p15:presenceInfo xmlns:p15="http://schemas.microsoft.com/office/powerpoint/2012/main" userId="Albert" providerId="None"/>
      </p:ext>
    </p:extLst>
  </p:cmAuthor>
  <p:cmAuthor id="10" name="Joseph Ndungu" initials="JN" lastIdx="5" clrIdx="9">
    <p:extLst>
      <p:ext uri="{19B8F6BF-5375-455C-9EA6-DF929625EA0E}">
        <p15:presenceInfo xmlns:p15="http://schemas.microsoft.com/office/powerpoint/2012/main" userId="S::Joseph.Ndungu@finddx.org::ca0ea31a-dc60-4871-a047-a769c4ef740e" providerId="AD"/>
      </p:ext>
    </p:extLst>
  </p:cmAuthor>
  <p:cmAuthor id="11" name="PORE, Meenal" initials="PM" lastIdx="4" clrIdx="10">
    <p:extLst>
      <p:ext uri="{19B8F6BF-5375-455C-9EA6-DF929625EA0E}">
        <p15:presenceInfo xmlns:p15="http://schemas.microsoft.com/office/powerpoint/2012/main" userId="PORE, Meenal" providerId="None"/>
      </p:ext>
    </p:extLst>
  </p:cmAuthor>
  <p:cmAuthor id="12" name="Sarah-Jane Loveday" initials="SJL" lastIdx="13" clrIdx="11">
    <p:extLst>
      <p:ext uri="{19B8F6BF-5375-455C-9EA6-DF929625EA0E}">
        <p15:presenceInfo xmlns:p15="http://schemas.microsoft.com/office/powerpoint/2012/main" userId="S::Sarah-Jane.Loveday@finddx.org::38f1dcbf-72cf-4a61-820e-24f00c15d838" providerId="AD"/>
      </p:ext>
    </p:extLst>
  </p:cmAuthor>
  <p:cmAuthor id="13" name="Shubhada Shenai" initials="SS" lastIdx="1" clrIdx="12">
    <p:extLst>
      <p:ext uri="{19B8F6BF-5375-455C-9EA6-DF929625EA0E}">
        <p15:presenceInfo xmlns:p15="http://schemas.microsoft.com/office/powerpoint/2012/main" userId="S::Shubhada.Shenai@finddx.org::9076908a-6e99-4edd-80de-1f7b5187c2d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E93F47"/>
    <a:srgbClr val="FFFF00"/>
    <a:srgbClr val="6AC534"/>
    <a:srgbClr val="F2F2F2"/>
    <a:srgbClr val="F79646"/>
    <a:srgbClr val="43ABB6"/>
    <a:srgbClr val="955895"/>
    <a:srgbClr val="FFC000"/>
    <a:srgbClr val="00B0F0"/>
    <a:srgbClr val="FFC00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2EEB468-680A-4AC8-A1DD-7B99AC745718}" v="6" dt="2024-12-10T01:37:08.60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121" autoAdjust="0"/>
    <p:restoredTop sz="93522" autoAdjust="0"/>
  </p:normalViewPr>
  <p:slideViewPr>
    <p:cSldViewPr snapToGrid="0">
      <p:cViewPr varScale="1">
        <p:scale>
          <a:sx n="56" d="100"/>
          <a:sy n="56" d="100"/>
        </p:scale>
        <p:origin x="1108" y="4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3996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>
      <p:cViewPr varScale="1">
        <p:scale>
          <a:sx n="112" d="100"/>
          <a:sy n="112" d="100"/>
        </p:scale>
        <p:origin x="2142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28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arak GShah" userId="0efee70e-6e36-46a2-be46-607be09e5417" providerId="ADAL" clId="{F2EEB468-680A-4AC8-A1DD-7B99AC745718}"/>
    <pc:docChg chg="undo custSel addSld modSld">
      <pc:chgData name="Tarak GShah" userId="0efee70e-6e36-46a2-be46-607be09e5417" providerId="ADAL" clId="{F2EEB468-680A-4AC8-A1DD-7B99AC745718}" dt="2024-12-10T01:37:08.608" v="737" actId="1076"/>
      <pc:docMkLst>
        <pc:docMk/>
      </pc:docMkLst>
      <pc:sldChg chg="modSp mod">
        <pc:chgData name="Tarak GShah" userId="0efee70e-6e36-46a2-be46-607be09e5417" providerId="ADAL" clId="{F2EEB468-680A-4AC8-A1DD-7B99AC745718}" dt="2024-12-10T01:19:32.633" v="111" actId="20577"/>
        <pc:sldMkLst>
          <pc:docMk/>
          <pc:sldMk cId="3586176318" sldId="533"/>
        </pc:sldMkLst>
        <pc:spChg chg="mod">
          <ac:chgData name="Tarak GShah" userId="0efee70e-6e36-46a2-be46-607be09e5417" providerId="ADAL" clId="{F2EEB468-680A-4AC8-A1DD-7B99AC745718}" dt="2024-12-10T01:19:32.633" v="111" actId="20577"/>
          <ac:spMkLst>
            <pc:docMk/>
            <pc:sldMk cId="3586176318" sldId="533"/>
            <ac:spMk id="12" creationId="{46A141C7-82EF-AD22-B793-DD9D7DAB6CF4}"/>
          </ac:spMkLst>
        </pc:spChg>
      </pc:sldChg>
      <pc:sldChg chg="modSp mod">
        <pc:chgData name="Tarak GShah" userId="0efee70e-6e36-46a2-be46-607be09e5417" providerId="ADAL" clId="{F2EEB468-680A-4AC8-A1DD-7B99AC745718}" dt="2024-12-10T01:20:39.196" v="115" actId="20577"/>
        <pc:sldMkLst>
          <pc:docMk/>
          <pc:sldMk cId="3050667864" sldId="846"/>
        </pc:sldMkLst>
        <pc:spChg chg="mod">
          <ac:chgData name="Tarak GShah" userId="0efee70e-6e36-46a2-be46-607be09e5417" providerId="ADAL" clId="{F2EEB468-680A-4AC8-A1DD-7B99AC745718}" dt="2024-12-10T01:20:39.196" v="115" actId="20577"/>
          <ac:spMkLst>
            <pc:docMk/>
            <pc:sldMk cId="3050667864" sldId="846"/>
            <ac:spMk id="4" creationId="{04B5B059-F64C-70A3-2FC8-E9F5F7E9B443}"/>
          </ac:spMkLst>
        </pc:spChg>
      </pc:sldChg>
      <pc:sldChg chg="modSp mod">
        <pc:chgData name="Tarak GShah" userId="0efee70e-6e36-46a2-be46-607be09e5417" providerId="ADAL" clId="{F2EEB468-680A-4AC8-A1DD-7B99AC745718}" dt="2024-12-10T01:37:08.608" v="737" actId="1076"/>
        <pc:sldMkLst>
          <pc:docMk/>
          <pc:sldMk cId="489611031" sldId="867"/>
        </pc:sldMkLst>
        <pc:spChg chg="mod">
          <ac:chgData name="Tarak GShah" userId="0efee70e-6e36-46a2-be46-607be09e5417" providerId="ADAL" clId="{F2EEB468-680A-4AC8-A1DD-7B99AC745718}" dt="2024-12-10T01:37:08.608" v="737" actId="1076"/>
          <ac:spMkLst>
            <pc:docMk/>
            <pc:sldMk cId="489611031" sldId="867"/>
            <ac:spMk id="4" creationId="{58C86718-AC0C-CD84-C149-A167E3F65CFF}"/>
          </ac:spMkLst>
        </pc:spChg>
        <pc:picChg chg="mod">
          <ac:chgData name="Tarak GShah" userId="0efee70e-6e36-46a2-be46-607be09e5417" providerId="ADAL" clId="{F2EEB468-680A-4AC8-A1DD-7B99AC745718}" dt="2024-12-10T01:36:51.926" v="732" actId="1076"/>
          <ac:picMkLst>
            <pc:docMk/>
            <pc:sldMk cId="489611031" sldId="867"/>
            <ac:picMk id="1027" creationId="{5361C444-B4E6-F947-AE56-4FE10B3C187B}"/>
          </ac:picMkLst>
        </pc:picChg>
      </pc:sldChg>
      <pc:sldChg chg="modSp mod">
        <pc:chgData name="Tarak GShah" userId="0efee70e-6e36-46a2-be46-607be09e5417" providerId="ADAL" clId="{F2EEB468-680A-4AC8-A1DD-7B99AC745718}" dt="2024-12-10T01:25:44.586" v="243" actId="6549"/>
        <pc:sldMkLst>
          <pc:docMk/>
          <pc:sldMk cId="3711104882" sldId="868"/>
        </pc:sldMkLst>
        <pc:spChg chg="mod">
          <ac:chgData name="Tarak GShah" userId="0efee70e-6e36-46a2-be46-607be09e5417" providerId="ADAL" clId="{F2EEB468-680A-4AC8-A1DD-7B99AC745718}" dt="2024-12-10T01:25:44.586" v="243" actId="6549"/>
          <ac:spMkLst>
            <pc:docMk/>
            <pc:sldMk cId="3711104882" sldId="868"/>
            <ac:spMk id="7" creationId="{15CF2BF8-B024-26D7-BC9A-6242C5016D47}"/>
          </ac:spMkLst>
        </pc:spChg>
      </pc:sldChg>
      <pc:sldChg chg="modSp mod">
        <pc:chgData name="Tarak GShah" userId="0efee70e-6e36-46a2-be46-607be09e5417" providerId="ADAL" clId="{F2EEB468-680A-4AC8-A1DD-7B99AC745718}" dt="2024-12-10T01:33:01.222" v="658" actId="20577"/>
        <pc:sldMkLst>
          <pc:docMk/>
          <pc:sldMk cId="1630304496" sldId="869"/>
        </pc:sldMkLst>
        <pc:spChg chg="mod">
          <ac:chgData name="Tarak GShah" userId="0efee70e-6e36-46a2-be46-607be09e5417" providerId="ADAL" clId="{F2EEB468-680A-4AC8-A1DD-7B99AC745718}" dt="2024-12-10T01:26:26.289" v="267" actId="20577"/>
          <ac:spMkLst>
            <pc:docMk/>
            <pc:sldMk cId="1630304496" sldId="869"/>
            <ac:spMk id="3" creationId="{B71E8631-2ED7-EAA1-9F91-80F040DA4E4D}"/>
          </ac:spMkLst>
        </pc:spChg>
        <pc:spChg chg="mod">
          <ac:chgData name="Tarak GShah" userId="0efee70e-6e36-46a2-be46-607be09e5417" providerId="ADAL" clId="{F2EEB468-680A-4AC8-A1DD-7B99AC745718}" dt="2024-12-10T01:33:01.222" v="658" actId="20577"/>
          <ac:spMkLst>
            <pc:docMk/>
            <pc:sldMk cId="1630304496" sldId="869"/>
            <ac:spMk id="5" creationId="{16DF9022-77E9-2B93-B477-EF84EACA78B3}"/>
          </ac:spMkLst>
        </pc:spChg>
      </pc:sldChg>
      <pc:sldChg chg="modSp mod">
        <pc:chgData name="Tarak GShah" userId="0efee70e-6e36-46a2-be46-607be09e5417" providerId="ADAL" clId="{F2EEB468-680A-4AC8-A1DD-7B99AC745718}" dt="2024-12-10T01:14:34.115" v="40" actId="20577"/>
        <pc:sldMkLst>
          <pc:docMk/>
          <pc:sldMk cId="2414469323" sldId="870"/>
        </pc:sldMkLst>
        <pc:spChg chg="mod">
          <ac:chgData name="Tarak GShah" userId="0efee70e-6e36-46a2-be46-607be09e5417" providerId="ADAL" clId="{F2EEB468-680A-4AC8-A1DD-7B99AC745718}" dt="2024-12-10T01:14:34.115" v="40" actId="20577"/>
          <ac:spMkLst>
            <pc:docMk/>
            <pc:sldMk cId="2414469323" sldId="870"/>
            <ac:spMk id="5" creationId="{4C68A92D-FC7A-2588-A335-296753518F51}"/>
          </ac:spMkLst>
        </pc:spChg>
      </pc:sldChg>
      <pc:sldChg chg="modSp mod">
        <pc:chgData name="Tarak GShah" userId="0efee70e-6e36-46a2-be46-607be09e5417" providerId="ADAL" clId="{F2EEB468-680A-4AC8-A1DD-7B99AC745718}" dt="2024-12-10T01:21:24.367" v="125" actId="20577"/>
        <pc:sldMkLst>
          <pc:docMk/>
          <pc:sldMk cId="78401597" sldId="871"/>
        </pc:sldMkLst>
        <pc:spChg chg="mod">
          <ac:chgData name="Tarak GShah" userId="0efee70e-6e36-46a2-be46-607be09e5417" providerId="ADAL" clId="{F2EEB468-680A-4AC8-A1DD-7B99AC745718}" dt="2024-12-10T01:21:24.367" v="125" actId="20577"/>
          <ac:spMkLst>
            <pc:docMk/>
            <pc:sldMk cId="78401597" sldId="871"/>
            <ac:spMk id="4" creationId="{FBB65A52-1879-5190-947F-5B79B5616A1F}"/>
          </ac:spMkLst>
        </pc:spChg>
      </pc:sldChg>
      <pc:sldChg chg="modSp mod">
        <pc:chgData name="Tarak GShah" userId="0efee70e-6e36-46a2-be46-607be09e5417" providerId="ADAL" clId="{F2EEB468-680A-4AC8-A1DD-7B99AC745718}" dt="2024-12-10T01:21:51.955" v="129" actId="20577"/>
        <pc:sldMkLst>
          <pc:docMk/>
          <pc:sldMk cId="3888693378" sldId="872"/>
        </pc:sldMkLst>
        <pc:spChg chg="mod">
          <ac:chgData name="Tarak GShah" userId="0efee70e-6e36-46a2-be46-607be09e5417" providerId="ADAL" clId="{F2EEB468-680A-4AC8-A1DD-7B99AC745718}" dt="2024-12-10T01:21:51.955" v="129" actId="20577"/>
          <ac:spMkLst>
            <pc:docMk/>
            <pc:sldMk cId="3888693378" sldId="872"/>
            <ac:spMk id="4" creationId="{F4777EB3-60C9-709F-047A-476694BB3ACE}"/>
          </ac:spMkLst>
        </pc:spChg>
      </pc:sldChg>
      <pc:sldChg chg="modSp mod">
        <pc:chgData name="Tarak GShah" userId="0efee70e-6e36-46a2-be46-607be09e5417" providerId="ADAL" clId="{F2EEB468-680A-4AC8-A1DD-7B99AC745718}" dt="2024-12-10T01:36:26.380" v="730" actId="6549"/>
        <pc:sldMkLst>
          <pc:docMk/>
          <pc:sldMk cId="536443551" sldId="874"/>
        </pc:sldMkLst>
        <pc:spChg chg="mod">
          <ac:chgData name="Tarak GShah" userId="0efee70e-6e36-46a2-be46-607be09e5417" providerId="ADAL" clId="{F2EEB468-680A-4AC8-A1DD-7B99AC745718}" dt="2024-12-10T01:36:26.380" v="730" actId="6549"/>
          <ac:spMkLst>
            <pc:docMk/>
            <pc:sldMk cId="536443551" sldId="874"/>
            <ac:spMk id="4" creationId="{4447E652-58C4-86B2-A4EC-3D2BDF57824A}"/>
          </ac:spMkLst>
        </pc:spChg>
      </pc:sldChg>
      <pc:sldChg chg="modSp mod">
        <pc:chgData name="Tarak GShah" userId="0efee70e-6e36-46a2-be46-607be09e5417" providerId="ADAL" clId="{F2EEB468-680A-4AC8-A1DD-7B99AC745718}" dt="2024-12-10T01:15:11.042" v="41" actId="20577"/>
        <pc:sldMkLst>
          <pc:docMk/>
          <pc:sldMk cId="170596684" sldId="875"/>
        </pc:sldMkLst>
        <pc:spChg chg="mod">
          <ac:chgData name="Tarak GShah" userId="0efee70e-6e36-46a2-be46-607be09e5417" providerId="ADAL" clId="{F2EEB468-680A-4AC8-A1DD-7B99AC745718}" dt="2024-12-10T01:15:11.042" v="41" actId="20577"/>
          <ac:spMkLst>
            <pc:docMk/>
            <pc:sldMk cId="170596684" sldId="875"/>
            <ac:spMk id="5" creationId="{CD15A0F9-8A87-80D7-23E6-45D94D83266F}"/>
          </ac:spMkLst>
        </pc:spChg>
      </pc:sldChg>
      <pc:sldChg chg="modSp mod">
        <pc:chgData name="Tarak GShah" userId="0efee70e-6e36-46a2-be46-607be09e5417" providerId="ADAL" clId="{F2EEB468-680A-4AC8-A1DD-7B99AC745718}" dt="2024-12-10T01:16:27.500" v="44" actId="20577"/>
        <pc:sldMkLst>
          <pc:docMk/>
          <pc:sldMk cId="4192496339" sldId="876"/>
        </pc:sldMkLst>
        <pc:spChg chg="mod">
          <ac:chgData name="Tarak GShah" userId="0efee70e-6e36-46a2-be46-607be09e5417" providerId="ADAL" clId="{F2EEB468-680A-4AC8-A1DD-7B99AC745718}" dt="2024-12-10T01:16:27.500" v="44" actId="20577"/>
          <ac:spMkLst>
            <pc:docMk/>
            <pc:sldMk cId="4192496339" sldId="876"/>
            <ac:spMk id="5" creationId="{C6AF3319-C6C8-3304-7CD3-3DA7D9008FAA}"/>
          </ac:spMkLst>
        </pc:spChg>
      </pc:sldChg>
      <pc:sldChg chg="modSp add mod">
        <pc:chgData name="Tarak GShah" userId="0efee70e-6e36-46a2-be46-607be09e5417" providerId="ADAL" clId="{F2EEB468-680A-4AC8-A1DD-7B99AC745718}" dt="2024-12-10T01:32:27.296" v="640" actId="20577"/>
        <pc:sldMkLst>
          <pc:docMk/>
          <pc:sldMk cId="4032820171" sldId="877"/>
        </pc:sldMkLst>
        <pc:spChg chg="mod">
          <ac:chgData name="Tarak GShah" userId="0efee70e-6e36-46a2-be46-607be09e5417" providerId="ADAL" clId="{F2EEB468-680A-4AC8-A1DD-7B99AC745718}" dt="2024-12-10T01:32:27.296" v="640" actId="20577"/>
          <ac:spMkLst>
            <pc:docMk/>
            <pc:sldMk cId="4032820171" sldId="877"/>
            <ac:spMk id="5" creationId="{E81088B2-ACE0-3D84-0F44-A7DE197B755C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C3BD14B-1724-4F2B-A671-BB97F0F8D49B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EEB4C5F5-C013-4D7C-BB78-FD65CA2A03ED}">
      <dgm:prSet phldrT="[Text]"/>
      <dgm:spPr/>
      <dgm:t>
        <a:bodyPr/>
        <a:lstStyle/>
        <a:p>
          <a:r>
            <a:rPr lang="en-IN" dirty="0"/>
            <a:t>VISIT</a:t>
          </a:r>
        </a:p>
      </dgm:t>
    </dgm:pt>
    <dgm:pt modelId="{99336D23-952C-4DD3-B302-CC317D7017F6}" type="parTrans" cxnId="{33377274-B02B-43E4-A2CF-2FCD4FBF52FF}">
      <dgm:prSet/>
      <dgm:spPr/>
      <dgm:t>
        <a:bodyPr/>
        <a:lstStyle/>
        <a:p>
          <a:endParaRPr lang="en-IN"/>
        </a:p>
      </dgm:t>
    </dgm:pt>
    <dgm:pt modelId="{887C7985-45BC-4C99-B9B6-6155E0B7243C}" type="sibTrans" cxnId="{33377274-B02B-43E4-A2CF-2FCD4FBF52FF}">
      <dgm:prSet/>
      <dgm:spPr/>
      <dgm:t>
        <a:bodyPr/>
        <a:lstStyle/>
        <a:p>
          <a:endParaRPr lang="en-IN"/>
        </a:p>
      </dgm:t>
    </dgm:pt>
    <dgm:pt modelId="{37C92EA5-8832-416B-8126-F5C8BB1D0355}">
      <dgm:prSet phldrT="[Text]"/>
      <dgm:spPr/>
      <dgm:t>
        <a:bodyPr/>
        <a:lstStyle/>
        <a:p>
          <a:r>
            <a:rPr lang="en-IN" dirty="0"/>
            <a:t>INSPECT</a:t>
          </a:r>
        </a:p>
      </dgm:t>
    </dgm:pt>
    <dgm:pt modelId="{1E3A50D4-05E2-4AE7-9002-502BF06FDA83}" type="parTrans" cxnId="{6ED7BE41-A7BF-493A-B5BA-F098A78C2BF2}">
      <dgm:prSet/>
      <dgm:spPr/>
      <dgm:t>
        <a:bodyPr/>
        <a:lstStyle/>
        <a:p>
          <a:endParaRPr lang="en-IN"/>
        </a:p>
      </dgm:t>
    </dgm:pt>
    <dgm:pt modelId="{5436B270-0AFB-48F7-A419-EB0C7683E16F}" type="sibTrans" cxnId="{6ED7BE41-A7BF-493A-B5BA-F098A78C2BF2}">
      <dgm:prSet/>
      <dgm:spPr/>
      <dgm:t>
        <a:bodyPr/>
        <a:lstStyle/>
        <a:p>
          <a:endParaRPr lang="en-IN"/>
        </a:p>
      </dgm:t>
    </dgm:pt>
    <dgm:pt modelId="{F0EE3F96-CD74-4DF6-A3C0-D555D52F9939}">
      <dgm:prSet phldrT="[Text]"/>
      <dgm:spPr/>
      <dgm:t>
        <a:bodyPr/>
        <a:lstStyle/>
        <a:p>
          <a:r>
            <a:rPr lang="en-IN" dirty="0"/>
            <a:t>CHECK</a:t>
          </a:r>
        </a:p>
      </dgm:t>
    </dgm:pt>
    <dgm:pt modelId="{9FDCAF5F-6EEE-4FE1-B592-176CD89E06F8}" type="parTrans" cxnId="{F3E638BE-1ED0-4CFA-A821-4A0E8E53FBF4}">
      <dgm:prSet/>
      <dgm:spPr/>
      <dgm:t>
        <a:bodyPr/>
        <a:lstStyle/>
        <a:p>
          <a:endParaRPr lang="en-IN"/>
        </a:p>
      </dgm:t>
    </dgm:pt>
    <dgm:pt modelId="{05230EC1-CCA5-4288-995E-7066AFFED305}" type="sibTrans" cxnId="{F3E638BE-1ED0-4CFA-A821-4A0E8E53FBF4}">
      <dgm:prSet/>
      <dgm:spPr/>
      <dgm:t>
        <a:bodyPr/>
        <a:lstStyle/>
        <a:p>
          <a:endParaRPr lang="en-IN"/>
        </a:p>
      </dgm:t>
    </dgm:pt>
    <dgm:pt modelId="{136E3143-2CD2-43A6-BDA4-5A733A4AB14E}">
      <dgm:prSet/>
      <dgm:spPr/>
      <dgm:t>
        <a:bodyPr/>
        <a:lstStyle/>
        <a:p>
          <a:r>
            <a:rPr lang="en-IN" dirty="0"/>
            <a:t>ENSURE</a:t>
          </a:r>
        </a:p>
      </dgm:t>
    </dgm:pt>
    <dgm:pt modelId="{7C199664-A581-4178-A26D-F1D69AAE55FE}" type="parTrans" cxnId="{7055A039-06EE-4DD9-BD7A-B6CF3B95E8C1}">
      <dgm:prSet/>
      <dgm:spPr/>
      <dgm:t>
        <a:bodyPr/>
        <a:lstStyle/>
        <a:p>
          <a:endParaRPr lang="en-IN"/>
        </a:p>
      </dgm:t>
    </dgm:pt>
    <dgm:pt modelId="{82C921A7-38B9-49D3-A72D-13FCD85DEF2F}" type="sibTrans" cxnId="{7055A039-06EE-4DD9-BD7A-B6CF3B95E8C1}">
      <dgm:prSet/>
      <dgm:spPr/>
      <dgm:t>
        <a:bodyPr/>
        <a:lstStyle/>
        <a:p>
          <a:endParaRPr lang="en-IN"/>
        </a:p>
      </dgm:t>
    </dgm:pt>
    <dgm:pt modelId="{04720F1C-54DC-477D-9833-4BB5A1FCDBE5}" type="pres">
      <dgm:prSet presAssocID="{DC3BD14B-1724-4F2B-A671-BB97F0F8D49B}" presName="CompostProcess" presStyleCnt="0">
        <dgm:presLayoutVars>
          <dgm:dir/>
          <dgm:resizeHandles val="exact"/>
        </dgm:presLayoutVars>
      </dgm:prSet>
      <dgm:spPr/>
    </dgm:pt>
    <dgm:pt modelId="{E2976C5E-F8B0-48D8-B775-390C2EED4002}" type="pres">
      <dgm:prSet presAssocID="{DC3BD14B-1724-4F2B-A671-BB97F0F8D49B}" presName="arrow" presStyleLbl="bgShp" presStyleIdx="0" presStyleCnt="1"/>
      <dgm:spPr/>
    </dgm:pt>
    <dgm:pt modelId="{383724C4-690B-40AC-ACED-A86DC6DEC325}" type="pres">
      <dgm:prSet presAssocID="{DC3BD14B-1724-4F2B-A671-BB97F0F8D49B}" presName="linearProcess" presStyleCnt="0"/>
      <dgm:spPr/>
    </dgm:pt>
    <dgm:pt modelId="{CA046CCB-EBA0-4CFE-BE6C-3BB063E393F2}" type="pres">
      <dgm:prSet presAssocID="{EEB4C5F5-C013-4D7C-BB78-FD65CA2A03ED}" presName="textNode" presStyleLbl="node1" presStyleIdx="0" presStyleCnt="4">
        <dgm:presLayoutVars>
          <dgm:bulletEnabled val="1"/>
        </dgm:presLayoutVars>
      </dgm:prSet>
      <dgm:spPr/>
    </dgm:pt>
    <dgm:pt modelId="{E6F7B858-1B58-411D-BD1C-2B880811B65F}" type="pres">
      <dgm:prSet presAssocID="{887C7985-45BC-4C99-B9B6-6155E0B7243C}" presName="sibTrans" presStyleCnt="0"/>
      <dgm:spPr/>
    </dgm:pt>
    <dgm:pt modelId="{933251A7-4E1B-4DC2-80FF-FF3E67E88A24}" type="pres">
      <dgm:prSet presAssocID="{37C92EA5-8832-416B-8126-F5C8BB1D0355}" presName="textNode" presStyleLbl="node1" presStyleIdx="1" presStyleCnt="4">
        <dgm:presLayoutVars>
          <dgm:bulletEnabled val="1"/>
        </dgm:presLayoutVars>
      </dgm:prSet>
      <dgm:spPr/>
    </dgm:pt>
    <dgm:pt modelId="{D8F587A0-837D-469F-A7D1-5C5FDFB391A7}" type="pres">
      <dgm:prSet presAssocID="{5436B270-0AFB-48F7-A419-EB0C7683E16F}" presName="sibTrans" presStyleCnt="0"/>
      <dgm:spPr/>
    </dgm:pt>
    <dgm:pt modelId="{556CAD61-FF6D-4DEC-9AB0-CF09470EF9BD}" type="pres">
      <dgm:prSet presAssocID="{F0EE3F96-CD74-4DF6-A3C0-D555D52F9939}" presName="textNode" presStyleLbl="node1" presStyleIdx="2" presStyleCnt="4">
        <dgm:presLayoutVars>
          <dgm:bulletEnabled val="1"/>
        </dgm:presLayoutVars>
      </dgm:prSet>
      <dgm:spPr/>
    </dgm:pt>
    <dgm:pt modelId="{DCB9220D-4F0E-49D3-8A89-385488BB79CE}" type="pres">
      <dgm:prSet presAssocID="{05230EC1-CCA5-4288-995E-7066AFFED305}" presName="sibTrans" presStyleCnt="0"/>
      <dgm:spPr/>
    </dgm:pt>
    <dgm:pt modelId="{EE0BDF48-F845-4074-8A14-D705AF25BFA6}" type="pres">
      <dgm:prSet presAssocID="{136E3143-2CD2-43A6-BDA4-5A733A4AB14E}" presName="textNode" presStyleLbl="node1" presStyleIdx="3" presStyleCnt="4">
        <dgm:presLayoutVars>
          <dgm:bulletEnabled val="1"/>
        </dgm:presLayoutVars>
      </dgm:prSet>
      <dgm:spPr/>
    </dgm:pt>
  </dgm:ptLst>
  <dgm:cxnLst>
    <dgm:cxn modelId="{8ABF1E01-DD74-45B8-AD94-8B298902054B}" type="presOf" srcId="{F0EE3F96-CD74-4DF6-A3C0-D555D52F9939}" destId="{556CAD61-FF6D-4DEC-9AB0-CF09470EF9BD}" srcOrd="0" destOrd="0" presId="urn:microsoft.com/office/officeart/2005/8/layout/hProcess9"/>
    <dgm:cxn modelId="{71D9CB1D-04EA-44E0-A390-DE30C8F19D71}" type="presOf" srcId="{37C92EA5-8832-416B-8126-F5C8BB1D0355}" destId="{933251A7-4E1B-4DC2-80FF-FF3E67E88A24}" srcOrd="0" destOrd="0" presId="urn:microsoft.com/office/officeart/2005/8/layout/hProcess9"/>
    <dgm:cxn modelId="{9653C21E-2C94-48F4-ACE2-F73F527EDF1F}" type="presOf" srcId="{EEB4C5F5-C013-4D7C-BB78-FD65CA2A03ED}" destId="{CA046CCB-EBA0-4CFE-BE6C-3BB063E393F2}" srcOrd="0" destOrd="0" presId="urn:microsoft.com/office/officeart/2005/8/layout/hProcess9"/>
    <dgm:cxn modelId="{7055A039-06EE-4DD9-BD7A-B6CF3B95E8C1}" srcId="{DC3BD14B-1724-4F2B-A671-BB97F0F8D49B}" destId="{136E3143-2CD2-43A6-BDA4-5A733A4AB14E}" srcOrd="3" destOrd="0" parTransId="{7C199664-A581-4178-A26D-F1D69AAE55FE}" sibTransId="{82C921A7-38B9-49D3-A72D-13FCD85DEF2F}"/>
    <dgm:cxn modelId="{6ED7BE41-A7BF-493A-B5BA-F098A78C2BF2}" srcId="{DC3BD14B-1724-4F2B-A671-BB97F0F8D49B}" destId="{37C92EA5-8832-416B-8126-F5C8BB1D0355}" srcOrd="1" destOrd="0" parTransId="{1E3A50D4-05E2-4AE7-9002-502BF06FDA83}" sibTransId="{5436B270-0AFB-48F7-A419-EB0C7683E16F}"/>
    <dgm:cxn modelId="{33377274-B02B-43E4-A2CF-2FCD4FBF52FF}" srcId="{DC3BD14B-1724-4F2B-A671-BB97F0F8D49B}" destId="{EEB4C5F5-C013-4D7C-BB78-FD65CA2A03ED}" srcOrd="0" destOrd="0" parTransId="{99336D23-952C-4DD3-B302-CC317D7017F6}" sibTransId="{887C7985-45BC-4C99-B9B6-6155E0B7243C}"/>
    <dgm:cxn modelId="{F3E638BE-1ED0-4CFA-A821-4A0E8E53FBF4}" srcId="{DC3BD14B-1724-4F2B-A671-BB97F0F8D49B}" destId="{F0EE3F96-CD74-4DF6-A3C0-D555D52F9939}" srcOrd="2" destOrd="0" parTransId="{9FDCAF5F-6EEE-4FE1-B592-176CD89E06F8}" sibTransId="{05230EC1-CCA5-4288-995E-7066AFFED305}"/>
    <dgm:cxn modelId="{5EBC45C4-8A54-4843-A9D3-D8914577E8B5}" type="presOf" srcId="{136E3143-2CD2-43A6-BDA4-5A733A4AB14E}" destId="{EE0BDF48-F845-4074-8A14-D705AF25BFA6}" srcOrd="0" destOrd="0" presId="urn:microsoft.com/office/officeart/2005/8/layout/hProcess9"/>
    <dgm:cxn modelId="{9C6F92F6-2C4D-4D23-B339-AAB3365941A9}" type="presOf" srcId="{DC3BD14B-1724-4F2B-A671-BB97F0F8D49B}" destId="{04720F1C-54DC-477D-9833-4BB5A1FCDBE5}" srcOrd="0" destOrd="0" presId="urn:microsoft.com/office/officeart/2005/8/layout/hProcess9"/>
    <dgm:cxn modelId="{B29A0AC6-79C6-4F88-B4A2-7F6A7BC6D9F5}" type="presParOf" srcId="{04720F1C-54DC-477D-9833-4BB5A1FCDBE5}" destId="{E2976C5E-F8B0-48D8-B775-390C2EED4002}" srcOrd="0" destOrd="0" presId="urn:microsoft.com/office/officeart/2005/8/layout/hProcess9"/>
    <dgm:cxn modelId="{4D029050-AFC6-483A-9E33-ED80A5187E63}" type="presParOf" srcId="{04720F1C-54DC-477D-9833-4BB5A1FCDBE5}" destId="{383724C4-690B-40AC-ACED-A86DC6DEC325}" srcOrd="1" destOrd="0" presId="urn:microsoft.com/office/officeart/2005/8/layout/hProcess9"/>
    <dgm:cxn modelId="{AE83DDD5-D641-4B13-B2E1-BC13DC9B2505}" type="presParOf" srcId="{383724C4-690B-40AC-ACED-A86DC6DEC325}" destId="{CA046CCB-EBA0-4CFE-BE6C-3BB063E393F2}" srcOrd="0" destOrd="0" presId="urn:microsoft.com/office/officeart/2005/8/layout/hProcess9"/>
    <dgm:cxn modelId="{274E28DB-F88A-4616-B8BB-1C3B91827B12}" type="presParOf" srcId="{383724C4-690B-40AC-ACED-A86DC6DEC325}" destId="{E6F7B858-1B58-411D-BD1C-2B880811B65F}" srcOrd="1" destOrd="0" presId="urn:microsoft.com/office/officeart/2005/8/layout/hProcess9"/>
    <dgm:cxn modelId="{D90FF66D-B872-4049-9CFD-99AAC061CBF7}" type="presParOf" srcId="{383724C4-690B-40AC-ACED-A86DC6DEC325}" destId="{933251A7-4E1B-4DC2-80FF-FF3E67E88A24}" srcOrd="2" destOrd="0" presId="urn:microsoft.com/office/officeart/2005/8/layout/hProcess9"/>
    <dgm:cxn modelId="{A98DF99D-FDB0-40CA-9AA0-50AC6A547EAE}" type="presParOf" srcId="{383724C4-690B-40AC-ACED-A86DC6DEC325}" destId="{D8F587A0-837D-469F-A7D1-5C5FDFB391A7}" srcOrd="3" destOrd="0" presId="urn:microsoft.com/office/officeart/2005/8/layout/hProcess9"/>
    <dgm:cxn modelId="{8CE32DD1-2804-444D-9158-E405AF1F230C}" type="presParOf" srcId="{383724C4-690B-40AC-ACED-A86DC6DEC325}" destId="{556CAD61-FF6D-4DEC-9AB0-CF09470EF9BD}" srcOrd="4" destOrd="0" presId="urn:microsoft.com/office/officeart/2005/8/layout/hProcess9"/>
    <dgm:cxn modelId="{92C44AA5-596E-4D21-9071-0226D74975B6}" type="presParOf" srcId="{383724C4-690B-40AC-ACED-A86DC6DEC325}" destId="{DCB9220D-4F0E-49D3-8A89-385488BB79CE}" srcOrd="5" destOrd="0" presId="urn:microsoft.com/office/officeart/2005/8/layout/hProcess9"/>
    <dgm:cxn modelId="{DCB15E7F-6F63-4983-9AB9-E1C94AB93284}" type="presParOf" srcId="{383724C4-690B-40AC-ACED-A86DC6DEC325}" destId="{EE0BDF48-F845-4074-8A14-D705AF25BFA6}" srcOrd="6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2976C5E-F8B0-48D8-B775-390C2EED4002}">
      <dsp:nvSpPr>
        <dsp:cNvPr id="0" name=""/>
        <dsp:cNvSpPr/>
      </dsp:nvSpPr>
      <dsp:spPr>
        <a:xfrm>
          <a:off x="860856" y="0"/>
          <a:ext cx="9756377" cy="3868875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A046CCB-EBA0-4CFE-BE6C-3BB063E393F2}">
      <dsp:nvSpPr>
        <dsp:cNvPr id="0" name=""/>
        <dsp:cNvSpPr/>
      </dsp:nvSpPr>
      <dsp:spPr>
        <a:xfrm>
          <a:off x="3362" y="1160662"/>
          <a:ext cx="2614796" cy="154755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590" tIns="148590" rIns="148590" bIns="148590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3900" kern="1200" dirty="0"/>
            <a:t>VISIT</a:t>
          </a:r>
        </a:p>
      </dsp:txBody>
      <dsp:txXfrm>
        <a:off x="78907" y="1236207"/>
        <a:ext cx="2463706" cy="1396460"/>
      </dsp:txXfrm>
    </dsp:sp>
    <dsp:sp modelId="{933251A7-4E1B-4DC2-80FF-FF3E67E88A24}">
      <dsp:nvSpPr>
        <dsp:cNvPr id="0" name=""/>
        <dsp:cNvSpPr/>
      </dsp:nvSpPr>
      <dsp:spPr>
        <a:xfrm>
          <a:off x="2955552" y="1160662"/>
          <a:ext cx="2614796" cy="154755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590" tIns="148590" rIns="148590" bIns="148590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3900" kern="1200" dirty="0"/>
            <a:t>INSPECT</a:t>
          </a:r>
        </a:p>
      </dsp:txBody>
      <dsp:txXfrm>
        <a:off x="3031097" y="1236207"/>
        <a:ext cx="2463706" cy="1396460"/>
      </dsp:txXfrm>
    </dsp:sp>
    <dsp:sp modelId="{556CAD61-FF6D-4DEC-9AB0-CF09470EF9BD}">
      <dsp:nvSpPr>
        <dsp:cNvPr id="0" name=""/>
        <dsp:cNvSpPr/>
      </dsp:nvSpPr>
      <dsp:spPr>
        <a:xfrm>
          <a:off x="5907742" y="1160662"/>
          <a:ext cx="2614796" cy="154755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590" tIns="148590" rIns="148590" bIns="148590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3900" kern="1200" dirty="0"/>
            <a:t>CHECK</a:t>
          </a:r>
        </a:p>
      </dsp:txBody>
      <dsp:txXfrm>
        <a:off x="5983287" y="1236207"/>
        <a:ext cx="2463706" cy="1396460"/>
      </dsp:txXfrm>
    </dsp:sp>
    <dsp:sp modelId="{EE0BDF48-F845-4074-8A14-D705AF25BFA6}">
      <dsp:nvSpPr>
        <dsp:cNvPr id="0" name=""/>
        <dsp:cNvSpPr/>
      </dsp:nvSpPr>
      <dsp:spPr>
        <a:xfrm>
          <a:off x="8859931" y="1160662"/>
          <a:ext cx="2614796" cy="154755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590" tIns="148590" rIns="148590" bIns="148590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3900" kern="1200" dirty="0"/>
            <a:t>ENSURE</a:t>
          </a:r>
        </a:p>
      </dsp:txBody>
      <dsp:txXfrm>
        <a:off x="8935476" y="1236207"/>
        <a:ext cx="2463706" cy="139646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400AD58B-399D-054B-9106-83359BF5E94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125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CEC1209A-37E3-104D-A696-CE56C86A59F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622925" y="0"/>
            <a:ext cx="4302125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D484AE-AF15-CA4B-999E-0CF4799BC5F7}" type="datetimeFigureOut">
              <a:rPr lang="en-GB" smtClean="0"/>
              <a:t>10/12/2024</a:t>
            </a:fld>
            <a:endParaRPr lang="en-GB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86C43993-7BA2-0E48-83A6-D0230E65863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456363"/>
            <a:ext cx="4302125" cy="3413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9D21F3FA-3EA4-8D47-A5D0-1CF3BCB659B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622925" y="6456363"/>
            <a:ext cx="4302125" cy="3413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902C6D-8DBA-E24B-AF6A-A1ECB89B139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18856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1316" cy="34004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3616" y="0"/>
            <a:ext cx="4301316" cy="34004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1926FF-3E55-475B-A653-864594870954}" type="datetimeFigureOut">
              <a:rPr lang="en-US" smtClean="0"/>
              <a:t>12/10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922588" y="849313"/>
            <a:ext cx="4081462" cy="2295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3006" y="3271517"/>
            <a:ext cx="7940628" cy="26768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457636"/>
            <a:ext cx="4301316" cy="3400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3616" y="6457636"/>
            <a:ext cx="4301316" cy="3400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B318DB-F457-434B-AF38-9C9D2D24F72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34503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B318DB-F457-434B-AF38-9C9D2D24F725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47903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rma libre 52">
            <a:extLst>
              <a:ext uri="{FF2B5EF4-FFF2-40B4-BE49-F238E27FC236}">
                <a16:creationId xmlns:a16="http://schemas.microsoft.com/office/drawing/2014/main" id="{588D54C6-6060-4EFD-B0A3-3A19C272912E}"/>
              </a:ext>
            </a:extLst>
          </p:cNvPr>
          <p:cNvSpPr/>
          <p:nvPr userDrawn="1"/>
        </p:nvSpPr>
        <p:spPr>
          <a:xfrm>
            <a:off x="590958" y="0"/>
            <a:ext cx="6234162" cy="4275244"/>
          </a:xfrm>
          <a:custGeom>
            <a:avLst/>
            <a:gdLst>
              <a:gd name="connsiteX0" fmla="*/ 224773 w 6234162"/>
              <a:gd name="connsiteY0" fmla="*/ 0 h 4275244"/>
              <a:gd name="connsiteX1" fmla="*/ 6009390 w 6234162"/>
              <a:gd name="connsiteY1" fmla="*/ 0 h 4275244"/>
              <a:gd name="connsiteX2" fmla="*/ 6094024 w 6234162"/>
              <a:gd name="connsiteY2" fmla="*/ 231240 h 4275244"/>
              <a:gd name="connsiteX3" fmla="*/ 6234162 w 6234162"/>
              <a:gd name="connsiteY3" fmla="*/ 1158164 h 4275244"/>
              <a:gd name="connsiteX4" fmla="*/ 3117081 w 6234162"/>
              <a:gd name="connsiteY4" fmla="*/ 4275244 h 4275244"/>
              <a:gd name="connsiteX5" fmla="*/ 0 w 6234162"/>
              <a:gd name="connsiteY5" fmla="*/ 1158164 h 4275244"/>
              <a:gd name="connsiteX6" fmla="*/ 140138 w 6234162"/>
              <a:gd name="connsiteY6" fmla="*/ 231240 h 4275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34162" h="4275244">
                <a:moveTo>
                  <a:pt x="224773" y="0"/>
                </a:moveTo>
                <a:lnTo>
                  <a:pt x="6009390" y="0"/>
                </a:lnTo>
                <a:lnTo>
                  <a:pt x="6094024" y="231240"/>
                </a:lnTo>
                <a:cubicBezTo>
                  <a:pt x="6185099" y="524055"/>
                  <a:pt x="6234162" y="835380"/>
                  <a:pt x="6234162" y="1158164"/>
                </a:cubicBezTo>
                <a:cubicBezTo>
                  <a:pt x="6234162" y="2879680"/>
                  <a:pt x="4838597" y="4275244"/>
                  <a:pt x="3117081" y="4275244"/>
                </a:cubicBezTo>
                <a:cubicBezTo>
                  <a:pt x="1395565" y="4275244"/>
                  <a:pt x="0" y="2879680"/>
                  <a:pt x="0" y="1158164"/>
                </a:cubicBezTo>
                <a:cubicBezTo>
                  <a:pt x="0" y="835380"/>
                  <a:pt x="49063" y="524055"/>
                  <a:pt x="140138" y="23124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114300" algn="ctr" rotWithShape="0">
              <a:schemeClr val="tx1">
                <a:lumMod val="85000"/>
                <a:lumOff val="15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8982829C-D174-4E44-A50A-27E2A5EF69B5}"/>
              </a:ext>
            </a:extLst>
          </p:cNvPr>
          <p:cNvSpPr/>
          <p:nvPr userDrawn="1"/>
        </p:nvSpPr>
        <p:spPr>
          <a:xfrm>
            <a:off x="596853" y="3928877"/>
            <a:ext cx="5751350" cy="2376673"/>
          </a:xfrm>
          <a:prstGeom prst="rect">
            <a:avLst/>
          </a:prstGeom>
          <a:noFill/>
          <a:ln w="12700" cap="flat" cmpd="sng" algn="ctr">
            <a:solidFill>
              <a:srgbClr val="5A2259">
                <a:alpha val="5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07725686-1765-4D39-B5F5-091C7C9289CC}"/>
              </a:ext>
            </a:extLst>
          </p:cNvPr>
          <p:cNvCxnSpPr>
            <a:cxnSpLocks/>
          </p:cNvCxnSpPr>
          <p:nvPr userDrawn="1"/>
        </p:nvCxnSpPr>
        <p:spPr>
          <a:xfrm>
            <a:off x="949601" y="5322823"/>
            <a:ext cx="0" cy="566802"/>
          </a:xfrm>
          <a:prstGeom prst="line">
            <a:avLst/>
          </a:prstGeom>
          <a:ln w="12700">
            <a:solidFill>
              <a:schemeClr val="tx2"/>
            </a:solidFill>
            <a:prstDash val="dash"/>
            <a:headEnd w="lg" len="med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ángulo 5">
            <a:extLst>
              <a:ext uri="{FF2B5EF4-FFF2-40B4-BE49-F238E27FC236}">
                <a16:creationId xmlns:a16="http://schemas.microsoft.com/office/drawing/2014/main" id="{61101015-A574-47DB-9B8C-4F865E76CCE5}"/>
              </a:ext>
            </a:extLst>
          </p:cNvPr>
          <p:cNvSpPr/>
          <p:nvPr userDrawn="1"/>
        </p:nvSpPr>
        <p:spPr>
          <a:xfrm>
            <a:off x="716255" y="3824363"/>
            <a:ext cx="5631947" cy="186377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97651F23-9E3C-466E-872B-B5FA0E91F3DD}"/>
              </a:ext>
            </a:extLst>
          </p:cNvPr>
          <p:cNvSpPr/>
          <p:nvPr userDrawn="1"/>
        </p:nvSpPr>
        <p:spPr>
          <a:xfrm>
            <a:off x="0" y="888164"/>
            <a:ext cx="243730" cy="540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6"/>
              </a:gs>
            </a:gsLst>
            <a:lin ang="5400000" scaled="1"/>
            <a:tileRect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78D57CF9-A3A0-4A36-AE0F-DA407CE9BD82}"/>
              </a:ext>
            </a:extLst>
          </p:cNvPr>
          <p:cNvSpPr/>
          <p:nvPr userDrawn="1"/>
        </p:nvSpPr>
        <p:spPr>
          <a:xfrm>
            <a:off x="0" y="6768000"/>
            <a:ext cx="12192000" cy="90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6"/>
              </a:gs>
            </a:gsLst>
            <a:lin ang="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" name="Forma libre: forma 16">
            <a:extLst>
              <a:ext uri="{FF2B5EF4-FFF2-40B4-BE49-F238E27FC236}">
                <a16:creationId xmlns:a16="http://schemas.microsoft.com/office/drawing/2014/main" id="{D22FDBD4-30A9-44A7-98A9-8439D09E051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4295778" y="0"/>
            <a:ext cx="7896225" cy="6858000"/>
          </a:xfrm>
          <a:custGeom>
            <a:avLst/>
            <a:gdLst>
              <a:gd name="connsiteX0" fmla="*/ 0 w 7896225"/>
              <a:gd name="connsiteY0" fmla="*/ 0 h 6858000"/>
              <a:gd name="connsiteX1" fmla="*/ 3429000 w 7896225"/>
              <a:gd name="connsiteY1" fmla="*/ 0 h 6858000"/>
              <a:gd name="connsiteX2" fmla="*/ 5805692 w 7896225"/>
              <a:gd name="connsiteY2" fmla="*/ 0 h 6858000"/>
              <a:gd name="connsiteX3" fmla="*/ 7896225 w 7896225"/>
              <a:gd name="connsiteY3" fmla="*/ 0 h 6858000"/>
              <a:gd name="connsiteX4" fmla="*/ 7896225 w 7896225"/>
              <a:gd name="connsiteY4" fmla="*/ 6858000 h 6858000"/>
              <a:gd name="connsiteX5" fmla="*/ 3429000 w 7896225"/>
              <a:gd name="connsiteY5" fmla="*/ 6858000 h 6858000"/>
              <a:gd name="connsiteX6" fmla="*/ 0 w 7896225"/>
              <a:gd name="connsiteY6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896225" h="6858000">
                <a:moveTo>
                  <a:pt x="0" y="0"/>
                </a:moveTo>
                <a:lnTo>
                  <a:pt x="3429000" y="0"/>
                </a:lnTo>
                <a:lnTo>
                  <a:pt x="5805692" y="0"/>
                </a:lnTo>
                <a:lnTo>
                  <a:pt x="7896225" y="0"/>
                </a:lnTo>
                <a:lnTo>
                  <a:pt x="7896225" y="6858000"/>
                </a:lnTo>
                <a:lnTo>
                  <a:pt x="3429000" y="6858000"/>
                </a:lnTo>
                <a:cubicBezTo>
                  <a:pt x="1535217" y="6858000"/>
                  <a:pt x="0" y="5322784"/>
                  <a:pt x="0" y="342900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bIns="1260000" anchor="ctr">
            <a:noAutofit/>
          </a:bodyPr>
          <a:lstStyle>
            <a:lvl1pPr algn="ctr">
              <a:defRPr sz="1800" b="1"/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23" name="Marcador de texto 21">
            <a:extLst>
              <a:ext uri="{FF2B5EF4-FFF2-40B4-BE49-F238E27FC236}">
                <a16:creationId xmlns:a16="http://schemas.microsoft.com/office/drawing/2014/main" id="{D507B8B4-E19C-479C-9DE0-7123B3377F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93521" y="5781269"/>
            <a:ext cx="3953466" cy="497069"/>
          </a:xfrm>
        </p:spPr>
        <p:txBody>
          <a:bodyPr>
            <a:normAutofit/>
          </a:bodyPr>
          <a:lstStyle>
            <a:lvl1pPr>
              <a:defRPr sz="1400" spc="100" baseline="0">
                <a:solidFill>
                  <a:srgbClr val="5A2259">
                    <a:alpha val="55000"/>
                  </a:srgbClr>
                </a:solidFill>
              </a:defRPr>
            </a:lvl1pPr>
          </a:lstStyle>
          <a:p>
            <a:pPr lvl="0"/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 </a:t>
            </a:r>
            <a:r>
              <a:rPr lang="en-US" noProof="0" dirty="0" err="1"/>
              <a:t>consectetu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endParaRPr lang="en-US" noProof="0" dirty="0"/>
          </a:p>
        </p:txBody>
      </p:sp>
      <p:sp>
        <p:nvSpPr>
          <p:cNvPr id="24" name="Título 17">
            <a:extLst>
              <a:ext uri="{FF2B5EF4-FFF2-40B4-BE49-F238E27FC236}">
                <a16:creationId xmlns:a16="http://schemas.microsoft.com/office/drawing/2014/main" id="{1DF1DE5B-FD30-4B66-8167-26428D83AF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3521" y="3986157"/>
            <a:ext cx="3132000" cy="83185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ts val="2700"/>
              </a:lnSpc>
              <a:defRPr sz="2800" b="0" cap="all" spc="300" baseline="0">
                <a:solidFill>
                  <a:srgbClr val="FFFFFF"/>
                </a:solidFill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25" name="Marcador de texto 19">
            <a:extLst>
              <a:ext uri="{FF2B5EF4-FFF2-40B4-BE49-F238E27FC236}">
                <a16:creationId xmlns:a16="http://schemas.microsoft.com/office/drawing/2014/main" id="{EB4A48CE-E482-4DB4-A38F-F21F030557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3521" y="4819207"/>
            <a:ext cx="3132000" cy="831850"/>
          </a:xfrm>
        </p:spPr>
        <p:txBody>
          <a:bodyPr>
            <a:normAutofit/>
          </a:bodyPr>
          <a:lstStyle>
            <a:lvl1pPr>
              <a:lnSpc>
                <a:spcPts val="1760"/>
              </a:lnSpc>
              <a:spcBef>
                <a:spcPts val="0"/>
              </a:spcBef>
              <a:defRPr sz="1800" b="0">
                <a:solidFill>
                  <a:srgbClr val="FFFFFF">
                    <a:alpha val="85000"/>
                  </a:srgbClr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Subtitle of presentation. </a:t>
            </a: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C8FE2267-F533-4049-A98E-29FD204DB16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650333" y="552450"/>
            <a:ext cx="2612204" cy="130610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F0BA39C-A7F8-3911-6A5D-24DC10982AB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941" y="749800"/>
            <a:ext cx="899409" cy="911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075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ángulo 18">
            <a:extLst>
              <a:ext uri="{FF2B5EF4-FFF2-40B4-BE49-F238E27FC236}">
                <a16:creationId xmlns:a16="http://schemas.microsoft.com/office/drawing/2014/main" id="{99DF4E13-A196-4A1F-982F-A79E11E60F28}"/>
              </a:ext>
            </a:extLst>
          </p:cNvPr>
          <p:cNvSpPr/>
          <p:nvPr userDrawn="1"/>
        </p:nvSpPr>
        <p:spPr>
          <a:xfrm>
            <a:off x="0" y="2502922"/>
            <a:ext cx="12192000" cy="3047327"/>
          </a:xfrm>
          <a:prstGeom prst="rect">
            <a:avLst/>
          </a:prstGeom>
          <a:solidFill>
            <a:srgbClr val="4C5B68">
              <a:alpha val="7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9A41411-D0D6-4945-9151-683D097F7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336" y="480075"/>
            <a:ext cx="9360000" cy="308122"/>
          </a:xfrm>
          <a:prstGeom prst="rect">
            <a:avLst/>
          </a:prstGeom>
        </p:spPr>
        <p:txBody>
          <a:bodyPr/>
          <a:lstStyle/>
          <a:p>
            <a:r>
              <a:rPr lang="es-ES" dirty="0"/>
              <a:t>TITLE</a:t>
            </a:r>
            <a:endParaRPr lang="en-GB" dirty="0"/>
          </a:p>
        </p:txBody>
      </p:sp>
      <p:sp>
        <p:nvSpPr>
          <p:cNvPr id="10" name="Marcador de texto 11">
            <a:extLst>
              <a:ext uri="{FF2B5EF4-FFF2-40B4-BE49-F238E27FC236}">
                <a16:creationId xmlns:a16="http://schemas.microsoft.com/office/drawing/2014/main" id="{E87E5760-A6CE-47C4-AD8C-D22944B09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4336" y="757830"/>
            <a:ext cx="10440000" cy="381159"/>
          </a:xfrm>
        </p:spPr>
        <p:txBody>
          <a:bodyPr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TITLE</a:t>
            </a:r>
          </a:p>
        </p:txBody>
      </p:sp>
      <p:sp>
        <p:nvSpPr>
          <p:cNvPr id="32" name="Marcador de texto 31">
            <a:extLst>
              <a:ext uri="{FF2B5EF4-FFF2-40B4-BE49-F238E27FC236}">
                <a16:creationId xmlns:a16="http://schemas.microsoft.com/office/drawing/2014/main" id="{12096F7E-5977-4FBA-BA7D-C1E063EACDE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28918" y="1862175"/>
            <a:ext cx="8530451" cy="532272"/>
          </a:xfrm>
        </p:spPr>
        <p:txBody>
          <a:bodyPr anchor="b"/>
          <a:lstStyle>
            <a:lvl1pPr algn="l">
              <a:defRPr sz="2000" b="1" cap="all" baseline="0">
                <a:solidFill>
                  <a:srgbClr val="43ABB6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TEXT</a:t>
            </a:r>
          </a:p>
        </p:txBody>
      </p: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id="{54609F7D-AEC1-45B7-854E-FBF4BBA488C1}"/>
              </a:ext>
            </a:extLst>
          </p:cNvPr>
          <p:cNvCxnSpPr>
            <a:cxnSpLocks/>
          </p:cNvCxnSpPr>
          <p:nvPr userDrawn="1"/>
        </p:nvCxnSpPr>
        <p:spPr>
          <a:xfrm>
            <a:off x="1732610" y="1862175"/>
            <a:ext cx="0" cy="853466"/>
          </a:xfrm>
          <a:prstGeom prst="line">
            <a:avLst/>
          </a:prstGeom>
          <a:ln w="12700" cap="rnd">
            <a:solidFill>
              <a:srgbClr val="D3553F"/>
            </a:solidFill>
            <a:prstDash val="dash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867734D-077E-4843-BFC9-1D1FFC02599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28918" y="2608847"/>
            <a:ext cx="8530458" cy="2837510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400" b="0">
                <a:solidFill>
                  <a:srgbClr val="4C5B68"/>
                </a:solidFill>
              </a:defRPr>
            </a:lvl1pPr>
          </a:lstStyle>
          <a:p>
            <a:pPr lvl="0"/>
            <a:r>
              <a:rPr lang="es-E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40346321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ángulo 18">
            <a:extLst>
              <a:ext uri="{FF2B5EF4-FFF2-40B4-BE49-F238E27FC236}">
                <a16:creationId xmlns:a16="http://schemas.microsoft.com/office/drawing/2014/main" id="{99DF4E13-A196-4A1F-982F-A79E11E60F28}"/>
              </a:ext>
            </a:extLst>
          </p:cNvPr>
          <p:cNvSpPr/>
          <p:nvPr userDrawn="1"/>
        </p:nvSpPr>
        <p:spPr>
          <a:xfrm>
            <a:off x="0" y="1416744"/>
            <a:ext cx="12192000" cy="4868658"/>
          </a:xfrm>
          <a:prstGeom prst="rect">
            <a:avLst/>
          </a:prstGeom>
          <a:solidFill>
            <a:srgbClr val="D3553F">
              <a:alpha val="7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9A41411-D0D6-4945-9151-683D097F7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336" y="480075"/>
            <a:ext cx="9360000" cy="308122"/>
          </a:xfrm>
          <a:prstGeom prst="rect">
            <a:avLst/>
          </a:prstGeom>
        </p:spPr>
        <p:txBody>
          <a:bodyPr/>
          <a:lstStyle/>
          <a:p>
            <a:r>
              <a:rPr lang="es-ES" dirty="0"/>
              <a:t>TITLE</a:t>
            </a:r>
            <a:endParaRPr lang="en-GB" dirty="0"/>
          </a:p>
        </p:txBody>
      </p:sp>
      <p:sp>
        <p:nvSpPr>
          <p:cNvPr id="10" name="Marcador de texto 11">
            <a:extLst>
              <a:ext uri="{FF2B5EF4-FFF2-40B4-BE49-F238E27FC236}">
                <a16:creationId xmlns:a16="http://schemas.microsoft.com/office/drawing/2014/main" id="{E87E5760-A6CE-47C4-AD8C-D22944B09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4336" y="757830"/>
            <a:ext cx="10440000" cy="381159"/>
          </a:xfrm>
        </p:spPr>
        <p:txBody>
          <a:bodyPr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TITLE</a:t>
            </a:r>
          </a:p>
        </p:txBody>
      </p: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id="{54609F7D-AEC1-45B7-854E-FBF4BBA488C1}"/>
              </a:ext>
            </a:extLst>
          </p:cNvPr>
          <p:cNvCxnSpPr>
            <a:cxnSpLocks/>
          </p:cNvCxnSpPr>
          <p:nvPr userDrawn="1"/>
        </p:nvCxnSpPr>
        <p:spPr>
          <a:xfrm flipV="1">
            <a:off x="1412924" y="1810513"/>
            <a:ext cx="0" cy="4474889"/>
          </a:xfrm>
          <a:prstGeom prst="line">
            <a:avLst/>
          </a:prstGeom>
          <a:ln w="12700" cap="rnd">
            <a:solidFill>
              <a:srgbClr val="43ABB6"/>
            </a:solidFill>
            <a:prstDash val="dash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arcador de texto 3">
            <a:extLst>
              <a:ext uri="{FF2B5EF4-FFF2-40B4-BE49-F238E27FC236}">
                <a16:creationId xmlns:a16="http://schemas.microsoft.com/office/drawing/2014/main" id="{3974C69A-6261-7D41-967B-C63248DB01A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609231" y="1694689"/>
            <a:ext cx="9169841" cy="4321894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900"/>
              </a:spcAft>
              <a:buSzPct val="80000"/>
              <a:buFont typeface="Arial" panose="020B0604020202020204" pitchFamily="34" charset="0"/>
              <a:buNone/>
              <a:defRPr sz="1500" b="0">
                <a:solidFill>
                  <a:srgbClr val="4C5B68"/>
                </a:solidFill>
              </a:defRPr>
            </a:lvl1pPr>
            <a:lvl2pPr>
              <a:spcAft>
                <a:spcPts val="900"/>
              </a:spcAft>
              <a:buClr>
                <a:srgbClr val="D3553F"/>
              </a:buClr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2pPr>
            <a:lvl3pPr>
              <a:buClr>
                <a:srgbClr val="D3553F"/>
              </a:buClr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3pPr>
            <a:lvl4pPr>
              <a:buClr>
                <a:srgbClr val="D3553F"/>
              </a:buClr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4pPr>
            <a:lvl5pPr marL="9525" indent="0">
              <a:buClr>
                <a:srgbClr val="D3553F"/>
              </a:buClr>
              <a:buNone/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 dirty="0"/>
              <a:t>Text</a:t>
            </a:r>
          </a:p>
          <a:p>
            <a:pPr lvl="1"/>
            <a:r>
              <a:rPr lang="es-E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6113100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9A41411-D0D6-4945-9151-683D097F7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336" y="480075"/>
            <a:ext cx="9360000" cy="308122"/>
          </a:xfrm>
          <a:prstGeom prst="rect">
            <a:avLst/>
          </a:prstGeom>
        </p:spPr>
        <p:txBody>
          <a:bodyPr/>
          <a:lstStyle/>
          <a:p>
            <a:r>
              <a:rPr lang="es-ES" dirty="0"/>
              <a:t>TITLE</a:t>
            </a:r>
            <a:endParaRPr lang="en-GB" dirty="0"/>
          </a:p>
        </p:txBody>
      </p:sp>
      <p:sp>
        <p:nvSpPr>
          <p:cNvPr id="10" name="Marcador de texto 11">
            <a:extLst>
              <a:ext uri="{FF2B5EF4-FFF2-40B4-BE49-F238E27FC236}">
                <a16:creationId xmlns:a16="http://schemas.microsoft.com/office/drawing/2014/main" id="{E87E5760-A6CE-47C4-AD8C-D22944B09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4336" y="757830"/>
            <a:ext cx="10440000" cy="381159"/>
          </a:xfrm>
        </p:spPr>
        <p:txBody>
          <a:bodyPr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TITLE</a:t>
            </a:r>
          </a:p>
        </p:txBody>
      </p:sp>
      <p:sp>
        <p:nvSpPr>
          <p:cNvPr id="5" name="Marcador de tabla 4">
            <a:extLst>
              <a:ext uri="{FF2B5EF4-FFF2-40B4-BE49-F238E27FC236}">
                <a16:creationId xmlns:a16="http://schemas.microsoft.com/office/drawing/2014/main" id="{C437BADD-9329-874D-9AF5-C8C007C4977A}"/>
              </a:ext>
            </a:extLst>
          </p:cNvPr>
          <p:cNvSpPr>
            <a:spLocks noGrp="1"/>
          </p:cNvSpPr>
          <p:nvPr>
            <p:ph type="tbl" sz="quarter" idx="11" hasCustomPrompt="1"/>
          </p:nvPr>
        </p:nvSpPr>
        <p:spPr>
          <a:xfrm>
            <a:off x="1693863" y="1555147"/>
            <a:ext cx="8804275" cy="4618721"/>
          </a:xfrm>
        </p:spPr>
        <p:txBody>
          <a:bodyPr bIns="576000" anchor="ctr" anchorCtr="0"/>
          <a:lstStyle>
            <a:lvl1pPr algn="ctr">
              <a:defRPr sz="1800" b="1"/>
            </a:lvl1pPr>
          </a:lstStyle>
          <a:p>
            <a:r>
              <a:rPr lang="en-GB" dirty="0"/>
              <a:t>Table</a:t>
            </a:r>
          </a:p>
        </p:txBody>
      </p:sp>
    </p:spTree>
    <p:extLst>
      <p:ext uri="{BB962C8B-B14F-4D97-AF65-F5344CB8AC3E}">
        <p14:creationId xmlns:p14="http://schemas.microsoft.com/office/powerpoint/2010/main" val="31893779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9A41411-D0D6-4945-9151-683D097F7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336" y="480075"/>
            <a:ext cx="9360000" cy="308122"/>
          </a:xfrm>
          <a:prstGeom prst="rect">
            <a:avLst/>
          </a:prstGeom>
        </p:spPr>
        <p:txBody>
          <a:bodyPr/>
          <a:lstStyle/>
          <a:p>
            <a:r>
              <a:rPr lang="es-ES" dirty="0"/>
              <a:t>TITLE</a:t>
            </a:r>
            <a:endParaRPr lang="en-GB" dirty="0"/>
          </a:p>
        </p:txBody>
      </p:sp>
      <p:sp>
        <p:nvSpPr>
          <p:cNvPr id="10" name="Marcador de texto 11">
            <a:extLst>
              <a:ext uri="{FF2B5EF4-FFF2-40B4-BE49-F238E27FC236}">
                <a16:creationId xmlns:a16="http://schemas.microsoft.com/office/drawing/2014/main" id="{E87E5760-A6CE-47C4-AD8C-D22944B09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4336" y="757830"/>
            <a:ext cx="10440000" cy="381159"/>
          </a:xfrm>
        </p:spPr>
        <p:txBody>
          <a:bodyPr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4255100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 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28A68373-39C9-43C0-3F46-A47469EF5D0F}"/>
              </a:ext>
            </a:extLst>
          </p:cNvPr>
          <p:cNvSpPr txBox="1">
            <a:spLocks/>
          </p:cNvSpPr>
          <p:nvPr userDrawn="1"/>
        </p:nvSpPr>
        <p:spPr>
          <a:xfrm>
            <a:off x="1190341" y="227013"/>
            <a:ext cx="9461269" cy="7623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42409340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9AC789F-09AB-0B9F-DC7C-DFC0CF8CF554}"/>
              </a:ext>
            </a:extLst>
          </p:cNvPr>
          <p:cNvSpPr txBox="1">
            <a:spLocks/>
          </p:cNvSpPr>
          <p:nvPr userDrawn="1"/>
        </p:nvSpPr>
        <p:spPr>
          <a:xfrm>
            <a:off x="1190341" y="227013"/>
            <a:ext cx="9461269" cy="7623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4564756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429934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FIND -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136000" y="424343"/>
            <a:ext cx="9199395" cy="790065"/>
          </a:xfrm>
          <a:prstGeom prst="rect">
            <a:avLst/>
          </a:prstGeom>
        </p:spPr>
        <p:txBody>
          <a:bodyPr anchor="ctr" anchorCtr="0"/>
          <a:lstStyle/>
          <a:p>
            <a:r>
              <a:rPr lang="en-GB" noProof="0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noProof="0" dirty="0" err="1"/>
              <a:t>Cliquez</a:t>
            </a:r>
            <a:r>
              <a:rPr lang="en-GB" noProof="0" dirty="0"/>
              <a:t> pour modifier les styles du </a:t>
            </a:r>
            <a:r>
              <a:rPr lang="en-GB" noProof="0" dirty="0" err="1"/>
              <a:t>texte</a:t>
            </a:r>
            <a:r>
              <a:rPr lang="en-GB" noProof="0" dirty="0"/>
              <a:t> du masque</a:t>
            </a:r>
          </a:p>
          <a:p>
            <a:pPr lvl="1"/>
            <a:r>
              <a:rPr lang="en-GB" noProof="0" dirty="0" err="1"/>
              <a:t>Deuxièm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  <a:p>
            <a:pPr lvl="2"/>
            <a:r>
              <a:rPr lang="en-GB" noProof="0" dirty="0" err="1"/>
              <a:t>Troisièm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5BC644-22BB-E44D-9A3A-66E3988AB274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9871738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Imagen 29">
            <a:extLst>
              <a:ext uri="{FF2B5EF4-FFF2-40B4-BE49-F238E27FC236}">
                <a16:creationId xmlns:a16="http://schemas.microsoft.com/office/drawing/2014/main" id="{552DB941-CD81-43C2-9023-BE2DBAB950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0"/>
            <a:ext cx="8692340" cy="6858000"/>
          </a:xfrm>
          <a:prstGeom prst="rect">
            <a:avLst/>
          </a:prstGeom>
        </p:spPr>
      </p:pic>
      <p:sp>
        <p:nvSpPr>
          <p:cNvPr id="31" name="Rectángulo 30">
            <a:extLst>
              <a:ext uri="{FF2B5EF4-FFF2-40B4-BE49-F238E27FC236}">
                <a16:creationId xmlns:a16="http://schemas.microsoft.com/office/drawing/2014/main" id="{A9010316-8E0A-4F87-BC73-CAF1178827C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5A2259">
              <a:alpha val="85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Rectángulo 32">
            <a:extLst>
              <a:ext uri="{FF2B5EF4-FFF2-40B4-BE49-F238E27FC236}">
                <a16:creationId xmlns:a16="http://schemas.microsoft.com/office/drawing/2014/main" id="{CC847C2E-02D5-487A-8F06-4EE732248FE2}"/>
              </a:ext>
            </a:extLst>
          </p:cNvPr>
          <p:cNvSpPr/>
          <p:nvPr userDrawn="1"/>
        </p:nvSpPr>
        <p:spPr>
          <a:xfrm>
            <a:off x="688293" y="4750444"/>
            <a:ext cx="5751350" cy="1430306"/>
          </a:xfrm>
          <a:prstGeom prst="rect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4D2BD5A6-0B1B-40CE-AFCE-727CAF0E0697}"/>
              </a:ext>
            </a:extLst>
          </p:cNvPr>
          <p:cNvSpPr/>
          <p:nvPr userDrawn="1"/>
        </p:nvSpPr>
        <p:spPr>
          <a:xfrm>
            <a:off x="688291" y="4040040"/>
            <a:ext cx="710203" cy="71040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Rectángulo 39">
            <a:extLst>
              <a:ext uri="{FF2B5EF4-FFF2-40B4-BE49-F238E27FC236}">
                <a16:creationId xmlns:a16="http://schemas.microsoft.com/office/drawing/2014/main" id="{46C1DD1E-A1B6-433A-9308-9E804090A231}"/>
              </a:ext>
            </a:extLst>
          </p:cNvPr>
          <p:cNvSpPr/>
          <p:nvPr userDrawn="1"/>
        </p:nvSpPr>
        <p:spPr>
          <a:xfrm>
            <a:off x="0" y="6768000"/>
            <a:ext cx="12192000" cy="90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6"/>
              </a:gs>
            </a:gsLst>
            <a:lin ang="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Forma libre: forma 46">
            <a:extLst>
              <a:ext uri="{FF2B5EF4-FFF2-40B4-BE49-F238E27FC236}">
                <a16:creationId xmlns:a16="http://schemas.microsoft.com/office/drawing/2014/main" id="{8C90463E-5889-4113-BAFF-4D4CF6426B9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4295778" y="0"/>
            <a:ext cx="7896225" cy="6858000"/>
          </a:xfrm>
          <a:custGeom>
            <a:avLst/>
            <a:gdLst>
              <a:gd name="connsiteX0" fmla="*/ 536318 w 7896225"/>
              <a:gd name="connsiteY0" fmla="*/ 0 h 6858000"/>
              <a:gd name="connsiteX1" fmla="*/ 3429000 w 7896225"/>
              <a:gd name="connsiteY1" fmla="*/ 0 h 6858000"/>
              <a:gd name="connsiteX2" fmla="*/ 5805692 w 7896225"/>
              <a:gd name="connsiteY2" fmla="*/ 0 h 6858000"/>
              <a:gd name="connsiteX3" fmla="*/ 7896225 w 7896225"/>
              <a:gd name="connsiteY3" fmla="*/ 0 h 6858000"/>
              <a:gd name="connsiteX4" fmla="*/ 7896225 w 7896225"/>
              <a:gd name="connsiteY4" fmla="*/ 6858000 h 6858000"/>
              <a:gd name="connsiteX5" fmla="*/ 3429000 w 7896225"/>
              <a:gd name="connsiteY5" fmla="*/ 6858000 h 6858000"/>
              <a:gd name="connsiteX6" fmla="*/ 0 w 7896225"/>
              <a:gd name="connsiteY6" fmla="*/ 3429000 h 6858000"/>
              <a:gd name="connsiteX7" fmla="*/ 0 w 7896225"/>
              <a:gd name="connsiteY7" fmla="*/ 1578902 h 6858000"/>
              <a:gd name="connsiteX8" fmla="*/ 97443 w 7896225"/>
              <a:gd name="connsiteY8" fmla="*/ 1439219 h 6858000"/>
              <a:gd name="connsiteX9" fmla="*/ 526325 w 7896225"/>
              <a:gd name="connsiteY9" fmla="*/ 19789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896225" h="6858000">
                <a:moveTo>
                  <a:pt x="536318" y="0"/>
                </a:moveTo>
                <a:lnTo>
                  <a:pt x="3429000" y="0"/>
                </a:lnTo>
                <a:lnTo>
                  <a:pt x="5805692" y="0"/>
                </a:lnTo>
                <a:lnTo>
                  <a:pt x="7896225" y="0"/>
                </a:lnTo>
                <a:lnTo>
                  <a:pt x="7896225" y="6858000"/>
                </a:lnTo>
                <a:lnTo>
                  <a:pt x="3429000" y="6858000"/>
                </a:lnTo>
                <a:cubicBezTo>
                  <a:pt x="1535218" y="6858000"/>
                  <a:pt x="0" y="5322784"/>
                  <a:pt x="0" y="3429000"/>
                </a:cubicBezTo>
                <a:lnTo>
                  <a:pt x="0" y="1578902"/>
                </a:lnTo>
                <a:lnTo>
                  <a:pt x="97443" y="1439219"/>
                </a:lnTo>
                <a:cubicBezTo>
                  <a:pt x="329074" y="1073090"/>
                  <a:pt x="480306" y="651045"/>
                  <a:pt x="526325" y="197896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bIns="1260000" anchor="ctr">
            <a:noAutofit/>
          </a:bodyPr>
          <a:lstStyle>
            <a:lvl1pPr algn="ctr">
              <a:defRPr sz="1800" b="1"/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48" name="Forma libre: forma 47">
            <a:extLst>
              <a:ext uri="{FF2B5EF4-FFF2-40B4-BE49-F238E27FC236}">
                <a16:creationId xmlns:a16="http://schemas.microsoft.com/office/drawing/2014/main" id="{54A7AC35-48B5-49F1-9EE9-6939CC5BC3F3}"/>
              </a:ext>
            </a:extLst>
          </p:cNvPr>
          <p:cNvSpPr/>
          <p:nvPr userDrawn="1"/>
        </p:nvSpPr>
        <p:spPr>
          <a:xfrm>
            <a:off x="0" y="0"/>
            <a:ext cx="4832096" cy="2779550"/>
          </a:xfrm>
          <a:custGeom>
            <a:avLst/>
            <a:gdLst>
              <a:gd name="connsiteX0" fmla="*/ 0 w 4832096"/>
              <a:gd name="connsiteY0" fmla="*/ 0 h 2779550"/>
              <a:gd name="connsiteX1" fmla="*/ 4832096 w 4832096"/>
              <a:gd name="connsiteY1" fmla="*/ 0 h 2779550"/>
              <a:gd name="connsiteX2" fmla="*/ 4822103 w 4832096"/>
              <a:gd name="connsiteY2" fmla="*/ 197896 h 2779550"/>
              <a:gd name="connsiteX3" fmla="*/ 1961275 w 4832096"/>
              <a:gd name="connsiteY3" fmla="*/ 2779550 h 2779550"/>
              <a:gd name="connsiteX4" fmla="*/ 132079 w 4832096"/>
              <a:gd name="connsiteY4" fmla="*/ 2122886 h 2779550"/>
              <a:gd name="connsiteX5" fmla="*/ 0 w 4832096"/>
              <a:gd name="connsiteY5" fmla="*/ 2002844 h 2779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32096" h="2779550">
                <a:moveTo>
                  <a:pt x="0" y="0"/>
                </a:moveTo>
                <a:lnTo>
                  <a:pt x="4832096" y="0"/>
                </a:lnTo>
                <a:lnTo>
                  <a:pt x="4822103" y="197896"/>
                </a:lnTo>
                <a:cubicBezTo>
                  <a:pt x="4674840" y="1647972"/>
                  <a:pt x="3450204" y="2779550"/>
                  <a:pt x="1961275" y="2779550"/>
                </a:cubicBezTo>
                <a:cubicBezTo>
                  <a:pt x="1266442" y="2779550"/>
                  <a:pt x="629165" y="2533118"/>
                  <a:pt x="132079" y="2122886"/>
                </a:cubicBezTo>
                <a:lnTo>
                  <a:pt x="0" y="2002844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114300" algn="ctr" rotWithShape="0">
              <a:schemeClr val="tx1">
                <a:lumMod val="85000"/>
                <a:lumOff val="15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spc="0" normalizeH="0" baseline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Título 17">
            <a:extLst>
              <a:ext uri="{FF2B5EF4-FFF2-40B4-BE49-F238E27FC236}">
                <a16:creationId xmlns:a16="http://schemas.microsoft.com/office/drawing/2014/main" id="{BFB3B7EA-0E87-4A80-A9F2-1B7D2C2D83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0171" y="4795129"/>
            <a:ext cx="3554680" cy="1340306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3200" b="0" cap="all" spc="300" baseline="0">
                <a:solidFill>
                  <a:srgbClr val="FFFFFF"/>
                </a:solidFill>
              </a:defRPr>
            </a:lvl1pPr>
          </a:lstStyle>
          <a:p>
            <a:r>
              <a:rPr lang="en-US" noProof="0" dirty="0"/>
              <a:t>Title of chapter</a:t>
            </a:r>
          </a:p>
        </p:txBody>
      </p:sp>
      <p:sp>
        <p:nvSpPr>
          <p:cNvPr id="11" name="Marcador de texto 10">
            <a:extLst>
              <a:ext uri="{FF2B5EF4-FFF2-40B4-BE49-F238E27FC236}">
                <a16:creationId xmlns:a16="http://schemas.microsoft.com/office/drawing/2014/main" id="{788D902E-AC33-418A-A733-04BA6C5557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8287" y="3867150"/>
            <a:ext cx="710207" cy="1033950"/>
          </a:xfrm>
        </p:spPr>
        <p:txBody>
          <a:bodyPr anchor="ctr">
            <a:normAutofit/>
          </a:bodyPr>
          <a:lstStyle>
            <a:lvl1pPr algn="ctr">
              <a:defRPr sz="4400" b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s-ES" dirty="0"/>
              <a:t>#</a:t>
            </a:r>
            <a:endParaRPr lang="en-GB" dirty="0"/>
          </a:p>
        </p:txBody>
      </p:sp>
      <p:pic>
        <p:nvPicPr>
          <p:cNvPr id="51" name="Picture 2">
            <a:extLst>
              <a:ext uri="{FF2B5EF4-FFF2-40B4-BE49-F238E27FC236}">
                <a16:creationId xmlns:a16="http://schemas.microsoft.com/office/drawing/2014/main" id="{6E768F5F-F96A-4B3F-9D21-B9A9111F538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577516" y="373821"/>
            <a:ext cx="3128209" cy="1564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37690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3E4225CE-E598-4742-A9D6-30EA2C28A602}"/>
              </a:ext>
            </a:extLst>
          </p:cNvPr>
          <p:cNvCxnSpPr>
            <a:cxnSpLocks/>
          </p:cNvCxnSpPr>
          <p:nvPr userDrawn="1"/>
        </p:nvCxnSpPr>
        <p:spPr>
          <a:xfrm flipV="1">
            <a:off x="1412924" y="1810514"/>
            <a:ext cx="0" cy="4958276"/>
          </a:xfrm>
          <a:prstGeom prst="line">
            <a:avLst/>
          </a:prstGeom>
          <a:ln w="12700" cap="rnd">
            <a:solidFill>
              <a:srgbClr val="43ABB6"/>
            </a:solidFill>
            <a:prstDash val="dash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Marcador de texto 3">
            <a:extLst>
              <a:ext uri="{FF2B5EF4-FFF2-40B4-BE49-F238E27FC236}">
                <a16:creationId xmlns:a16="http://schemas.microsoft.com/office/drawing/2014/main" id="{33621167-7825-F04F-AF93-5194E0BD4BF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609231" y="1694689"/>
            <a:ext cx="9169841" cy="4321894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900"/>
              </a:spcAft>
              <a:buSzPct val="80000"/>
              <a:buFont typeface="Arial" panose="020B0604020202020204" pitchFamily="34" charset="0"/>
              <a:buNone/>
              <a:defRPr sz="1500" b="0">
                <a:solidFill>
                  <a:srgbClr val="4C5B68"/>
                </a:solidFill>
              </a:defRPr>
            </a:lvl1pPr>
            <a:lvl2pPr>
              <a:spcAft>
                <a:spcPts val="900"/>
              </a:spcAft>
              <a:buClr>
                <a:srgbClr val="D3553F"/>
              </a:buClr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2pPr>
            <a:lvl3pPr>
              <a:buClr>
                <a:srgbClr val="D3553F"/>
              </a:buClr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3pPr>
            <a:lvl4pPr>
              <a:buClr>
                <a:srgbClr val="D3553F"/>
              </a:buClr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4pPr>
            <a:lvl5pPr marL="9525" indent="0">
              <a:buClr>
                <a:srgbClr val="D3553F"/>
              </a:buClr>
              <a:buNone/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 dirty="0"/>
              <a:t>Text</a:t>
            </a:r>
          </a:p>
          <a:p>
            <a:pPr lvl="1"/>
            <a:r>
              <a:rPr lang="es-ES" dirty="0"/>
              <a:t>Text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4C8A058-D429-D1D5-423B-26A039AEACCB}"/>
              </a:ext>
            </a:extLst>
          </p:cNvPr>
          <p:cNvSpPr txBox="1">
            <a:spLocks/>
          </p:cNvSpPr>
          <p:nvPr userDrawn="1"/>
        </p:nvSpPr>
        <p:spPr>
          <a:xfrm>
            <a:off x="1190341" y="227013"/>
            <a:ext cx="9461269" cy="7623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9265871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Conector recto 3">
            <a:extLst>
              <a:ext uri="{FF2B5EF4-FFF2-40B4-BE49-F238E27FC236}">
                <a16:creationId xmlns:a16="http://schemas.microsoft.com/office/drawing/2014/main" id="{91E55553-2EC2-4940-8474-FA5FDD1E806B}"/>
              </a:ext>
            </a:extLst>
          </p:cNvPr>
          <p:cNvCxnSpPr>
            <a:cxnSpLocks/>
          </p:cNvCxnSpPr>
          <p:nvPr userDrawn="1"/>
        </p:nvCxnSpPr>
        <p:spPr>
          <a:xfrm flipV="1">
            <a:off x="1412924" y="1810514"/>
            <a:ext cx="0" cy="4958276"/>
          </a:xfrm>
          <a:prstGeom prst="line">
            <a:avLst/>
          </a:prstGeom>
          <a:ln w="12700" cap="rnd">
            <a:solidFill>
              <a:srgbClr val="43ABB6"/>
            </a:solidFill>
            <a:prstDash val="dash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Marcador de texto 3">
            <a:extLst>
              <a:ext uri="{FF2B5EF4-FFF2-40B4-BE49-F238E27FC236}">
                <a16:creationId xmlns:a16="http://schemas.microsoft.com/office/drawing/2014/main" id="{C83CD6F1-9136-9F4B-BE6E-50BB289DFC0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495425" y="1238250"/>
            <a:ext cx="9283647" cy="4778333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900"/>
              </a:spcAft>
              <a:buSzPct val="80000"/>
              <a:buFont typeface="Arial" panose="020B0604020202020204" pitchFamily="34" charset="0"/>
              <a:buNone/>
              <a:defRPr sz="2400" b="0">
                <a:solidFill>
                  <a:srgbClr val="4C5B68"/>
                </a:solidFill>
              </a:defRPr>
            </a:lvl1pPr>
            <a:lvl2pPr>
              <a:spcAft>
                <a:spcPts val="900"/>
              </a:spcAft>
              <a:buClr>
                <a:srgbClr val="D3553F"/>
              </a:buClr>
              <a:defRPr lang="es-ES" sz="20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2pPr>
            <a:lvl3pPr>
              <a:buClr>
                <a:srgbClr val="D3553F"/>
              </a:buClr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3pPr>
            <a:lvl4pPr>
              <a:buClr>
                <a:srgbClr val="D3553F"/>
              </a:buClr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4pPr>
            <a:lvl5pPr marL="9525" indent="0">
              <a:buClr>
                <a:srgbClr val="D3553F"/>
              </a:buClr>
              <a:buNone/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 dirty="0"/>
              <a:t>Text</a:t>
            </a:r>
          </a:p>
          <a:p>
            <a:pPr lvl="1"/>
            <a:r>
              <a:rPr lang="es-ES" dirty="0"/>
              <a:t>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DA0685-2107-AEAB-7B7F-1522302D125F}"/>
              </a:ext>
            </a:extLst>
          </p:cNvPr>
          <p:cNvSpPr txBox="1">
            <a:spLocks/>
          </p:cNvSpPr>
          <p:nvPr userDrawn="1"/>
        </p:nvSpPr>
        <p:spPr>
          <a:xfrm>
            <a:off x="1190341" y="227013"/>
            <a:ext cx="9461269" cy="7623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904323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458CAAC6-527E-4505-8D55-67BA35AC75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93852" y="757830"/>
            <a:ext cx="5472000" cy="381159"/>
          </a:xfrm>
        </p:spPr>
        <p:txBody>
          <a:bodyPr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TITLE</a:t>
            </a:r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F81F6864-D8D1-4F92-BE78-12A0276ADB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3852" y="480075"/>
            <a:ext cx="4212000" cy="308122"/>
          </a:xfrm>
          <a:prstGeom prst="rect">
            <a:avLst/>
          </a:prstGeom>
        </p:spPr>
        <p:txBody>
          <a:bodyPr anchor="b"/>
          <a:lstStyle/>
          <a:p>
            <a:r>
              <a:rPr lang="es-ES" dirty="0"/>
              <a:t>TITLE</a:t>
            </a:r>
            <a:endParaRPr lang="en-GB" dirty="0"/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62D147B5-EDB7-42AC-A836-CF89249A01FD}"/>
              </a:ext>
            </a:extLst>
          </p:cNvPr>
          <p:cNvSpPr/>
          <p:nvPr userDrawn="1"/>
        </p:nvSpPr>
        <p:spPr>
          <a:xfrm>
            <a:off x="0" y="1431234"/>
            <a:ext cx="12192000" cy="4784035"/>
          </a:xfrm>
          <a:prstGeom prst="rect">
            <a:avLst/>
          </a:prstGeom>
          <a:solidFill>
            <a:srgbClr val="8C9EAB">
              <a:alpha val="1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5" name="Forma libre: forma 34">
            <a:extLst>
              <a:ext uri="{FF2B5EF4-FFF2-40B4-BE49-F238E27FC236}">
                <a16:creationId xmlns:a16="http://schemas.microsoft.com/office/drawing/2014/main" id="{D552286A-F49C-42E7-A348-ADA9AC8D58BD}"/>
              </a:ext>
            </a:extLst>
          </p:cNvPr>
          <p:cNvSpPr/>
          <p:nvPr userDrawn="1"/>
        </p:nvSpPr>
        <p:spPr>
          <a:xfrm flipH="1">
            <a:off x="0" y="-48126"/>
            <a:ext cx="5534526" cy="6906124"/>
          </a:xfrm>
          <a:custGeom>
            <a:avLst/>
            <a:gdLst>
              <a:gd name="connsiteX0" fmla="*/ 1135685 w 5404022"/>
              <a:gd name="connsiteY0" fmla="*/ 0 h 6857998"/>
              <a:gd name="connsiteX1" fmla="*/ 5404022 w 5404022"/>
              <a:gd name="connsiteY1" fmla="*/ 0 h 6857998"/>
              <a:gd name="connsiteX2" fmla="*/ 5404022 w 5404022"/>
              <a:gd name="connsiteY2" fmla="*/ 6857998 h 6857998"/>
              <a:gd name="connsiteX3" fmla="*/ 2689453 w 5404022"/>
              <a:gd name="connsiteY3" fmla="*/ 6857998 h 6857998"/>
              <a:gd name="connsiteX4" fmla="*/ 2607100 w 5404022"/>
              <a:gd name="connsiteY4" fmla="*/ 6825527 h 6857998"/>
              <a:gd name="connsiteX5" fmla="*/ 0 w 5404022"/>
              <a:gd name="connsiteY5" fmla="*/ 2892328 h 6857998"/>
              <a:gd name="connsiteX6" fmla="*/ 974753 w 5404022"/>
              <a:gd name="connsiteY6" fmla="*/ 177070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04022" h="6857998">
                <a:moveTo>
                  <a:pt x="1135685" y="0"/>
                </a:moveTo>
                <a:lnTo>
                  <a:pt x="5404022" y="0"/>
                </a:lnTo>
                <a:lnTo>
                  <a:pt x="5404022" y="6857998"/>
                </a:lnTo>
                <a:lnTo>
                  <a:pt x="2689453" y="6857998"/>
                </a:lnTo>
                <a:lnTo>
                  <a:pt x="2607100" y="6825527"/>
                </a:lnTo>
                <a:cubicBezTo>
                  <a:pt x="1075017" y="6177511"/>
                  <a:pt x="0" y="4660461"/>
                  <a:pt x="0" y="2892328"/>
                </a:cubicBezTo>
                <a:cubicBezTo>
                  <a:pt x="0" y="1860918"/>
                  <a:pt x="365805" y="914944"/>
                  <a:pt x="974753" y="177070"/>
                </a:cubicBezTo>
                <a:close/>
              </a:path>
            </a:pathLst>
          </a:custGeom>
          <a:noFill/>
          <a:ln w="12700">
            <a:gradFill>
              <a:gsLst>
                <a:gs pos="0">
                  <a:schemeClr val="accent6"/>
                </a:gs>
                <a:gs pos="100000">
                  <a:srgbClr val="43ABB6"/>
                </a:gs>
              </a:gsLst>
              <a:lin ang="5400000" scaled="1"/>
            </a:gradFill>
          </a:ln>
          <a:effectLst>
            <a:outerShdw blurRad="114300" dist="38100" dir="360000" algn="tl" rotWithShape="0">
              <a:prstClr val="black">
                <a:alpha val="13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100" normalizeH="0" baseline="0" noProof="0" dirty="0" err="1">
              <a:ln>
                <a:noFill/>
              </a:ln>
              <a:solidFill>
                <a:srgbClr val="4C5B6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5B692206-0B17-49CA-9101-C1F4D690BD5C}"/>
              </a:ext>
            </a:extLst>
          </p:cNvPr>
          <p:cNvSpPr txBox="1">
            <a:spLocks/>
          </p:cNvSpPr>
          <p:nvPr userDrawn="1"/>
        </p:nvSpPr>
        <p:spPr>
          <a:xfrm>
            <a:off x="560753" y="6483356"/>
            <a:ext cx="234462" cy="13335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4D992F-7007-473D-9CAC-8B17A67E3C5E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5A22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5A225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Rectángulo redondeado 97">
            <a:extLst>
              <a:ext uri="{FF2B5EF4-FFF2-40B4-BE49-F238E27FC236}">
                <a16:creationId xmlns:a16="http://schemas.microsoft.com/office/drawing/2014/main" id="{8BD2B99C-EA8C-48D9-AF37-F29645618C28}"/>
              </a:ext>
            </a:extLst>
          </p:cNvPr>
          <p:cNvSpPr/>
          <p:nvPr userDrawn="1"/>
        </p:nvSpPr>
        <p:spPr>
          <a:xfrm>
            <a:off x="6192252" y="1782026"/>
            <a:ext cx="5037221" cy="4317857"/>
          </a:xfrm>
          <a:prstGeom prst="roundRect">
            <a:avLst>
              <a:gd name="adj" fmla="val 6244"/>
            </a:avLst>
          </a:prstGeom>
          <a:noFill/>
          <a:ln w="12700">
            <a:solidFill>
              <a:schemeClr val="accent6"/>
            </a:solidFill>
          </a:ln>
          <a:effectLst>
            <a:outerShdw blurRad="114300" dist="38100" dir="360000" algn="tl" rotWithShape="0">
              <a:prstClr val="black">
                <a:alpha val="13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08000" bIns="0" rtlCol="0" anchor="t"/>
          <a:lstStyle/>
          <a:p>
            <a:pPr marL="0" marR="0" lvl="0" indent="0" algn="ctr" defTabSz="4572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100" normalizeH="0" baseline="0" noProof="0" dirty="0">
              <a:ln>
                <a:noFill/>
              </a:ln>
              <a:solidFill>
                <a:srgbClr val="4C5B6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9" name="Rectángulo redondeado 71">
            <a:extLst>
              <a:ext uri="{FF2B5EF4-FFF2-40B4-BE49-F238E27FC236}">
                <a16:creationId xmlns:a16="http://schemas.microsoft.com/office/drawing/2014/main" id="{DFC4FC1E-20C6-4661-A371-E1E4034827F7}"/>
              </a:ext>
            </a:extLst>
          </p:cNvPr>
          <p:cNvSpPr/>
          <p:nvPr userDrawn="1"/>
        </p:nvSpPr>
        <p:spPr>
          <a:xfrm>
            <a:off x="6318437" y="1540560"/>
            <a:ext cx="5041525" cy="4498759"/>
          </a:xfrm>
          <a:prstGeom prst="roundRect">
            <a:avLst>
              <a:gd name="adj" fmla="val 5891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08000" bIns="0" rtlCol="0" anchor="ctr"/>
          <a:lstStyle/>
          <a:p>
            <a:pPr lvl="0" defTabSz="457200">
              <a:lnSpc>
                <a:spcPts val="1620"/>
              </a:lnSpc>
              <a:buSzPct val="100000"/>
              <a:buFont typeface="Trebuchet MS" panose="020B0603020202020204" pitchFamily="34" charset="0"/>
              <a:buChar char="​"/>
              <a:defRPr/>
            </a:pPr>
            <a:endParaRPr lang="en-US" sz="1200" spc="100" dirty="0">
              <a:solidFill>
                <a:srgbClr val="4C5B6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Forma libre: forma 80">
            <a:extLst>
              <a:ext uri="{FF2B5EF4-FFF2-40B4-BE49-F238E27FC236}">
                <a16:creationId xmlns:a16="http://schemas.microsoft.com/office/drawing/2014/main" id="{47C4454F-FE9E-4768-923A-E5429EA367F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auto">
          <a:xfrm>
            <a:off x="1" y="2"/>
            <a:ext cx="5404021" cy="6857998"/>
          </a:xfrm>
          <a:custGeom>
            <a:avLst/>
            <a:gdLst>
              <a:gd name="connsiteX0" fmla="*/ 0 w 5404021"/>
              <a:gd name="connsiteY0" fmla="*/ 0 h 6857998"/>
              <a:gd name="connsiteX1" fmla="*/ 4268336 w 5404021"/>
              <a:gd name="connsiteY1" fmla="*/ 0 h 6857998"/>
              <a:gd name="connsiteX2" fmla="*/ 4429268 w 5404021"/>
              <a:gd name="connsiteY2" fmla="*/ 177070 h 6857998"/>
              <a:gd name="connsiteX3" fmla="*/ 5404021 w 5404021"/>
              <a:gd name="connsiteY3" fmla="*/ 2892328 h 6857998"/>
              <a:gd name="connsiteX4" fmla="*/ 2796921 w 5404021"/>
              <a:gd name="connsiteY4" fmla="*/ 6825527 h 6857998"/>
              <a:gd name="connsiteX5" fmla="*/ 2714568 w 5404021"/>
              <a:gd name="connsiteY5" fmla="*/ 6857998 h 6857998"/>
              <a:gd name="connsiteX6" fmla="*/ 0 w 5404021"/>
              <a:gd name="connsiteY6" fmla="*/ 6857998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04021" h="6857998">
                <a:moveTo>
                  <a:pt x="0" y="0"/>
                </a:moveTo>
                <a:lnTo>
                  <a:pt x="4268336" y="0"/>
                </a:lnTo>
                <a:lnTo>
                  <a:pt x="4429268" y="177070"/>
                </a:lnTo>
                <a:cubicBezTo>
                  <a:pt x="5038216" y="914944"/>
                  <a:pt x="5404021" y="1860918"/>
                  <a:pt x="5404021" y="2892328"/>
                </a:cubicBezTo>
                <a:cubicBezTo>
                  <a:pt x="5404021" y="4660461"/>
                  <a:pt x="4329004" y="6177511"/>
                  <a:pt x="2796921" y="6825527"/>
                </a:cubicBezTo>
                <a:lnTo>
                  <a:pt x="2714568" y="6857998"/>
                </a:lnTo>
                <a:lnTo>
                  <a:pt x="0" y="6857998"/>
                </a:ln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</p:spPr>
        <p:txBody>
          <a:bodyPr wrap="square" bIns="1260000" anchor="ctr">
            <a:noAutofit/>
          </a:bodyPr>
          <a:lstStyle>
            <a:lvl1pPr algn="ctr">
              <a:defRPr sz="1800" b="1"/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76299E4-19BE-F24A-85E8-7BE02A89B4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13536" y="1782024"/>
            <a:ext cx="4251325" cy="4025051"/>
          </a:xfrm>
        </p:spPr>
        <p:txBody>
          <a:bodyPr anchor="ctr"/>
          <a:lstStyle/>
          <a:p>
            <a:pPr lvl="0"/>
            <a:r>
              <a:rPr lang="es-ES" dirty="0"/>
              <a:t>Text</a:t>
            </a:r>
          </a:p>
          <a:p>
            <a:pPr lvl="1"/>
            <a:r>
              <a:rPr lang="es-ES" dirty="0"/>
              <a:t>Text</a:t>
            </a:r>
          </a:p>
          <a:p>
            <a:pPr lvl="2"/>
            <a:r>
              <a:rPr lang="es-ES" dirty="0"/>
              <a:t>Text</a:t>
            </a:r>
          </a:p>
          <a:p>
            <a:pPr lvl="3"/>
            <a:r>
              <a:rPr lang="es-ES" dirty="0"/>
              <a:t>Text</a:t>
            </a:r>
          </a:p>
          <a:p>
            <a:pPr lvl="4"/>
            <a:r>
              <a:rPr lang="es-ES" dirty="0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52499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>
            <a:extLst>
              <a:ext uri="{FF2B5EF4-FFF2-40B4-BE49-F238E27FC236}">
                <a16:creationId xmlns:a16="http://schemas.microsoft.com/office/drawing/2014/main" id="{A3E05040-690F-4E98-983D-25960FB4DB04}"/>
              </a:ext>
            </a:extLst>
          </p:cNvPr>
          <p:cNvSpPr/>
          <p:nvPr userDrawn="1"/>
        </p:nvSpPr>
        <p:spPr>
          <a:xfrm>
            <a:off x="0" y="2356482"/>
            <a:ext cx="12192000" cy="2767101"/>
          </a:xfrm>
          <a:prstGeom prst="rect">
            <a:avLst/>
          </a:prstGeom>
          <a:solidFill>
            <a:srgbClr val="43ABB6">
              <a:alpha val="1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4" name="Rectángulo redondeado 97">
            <a:extLst>
              <a:ext uri="{FF2B5EF4-FFF2-40B4-BE49-F238E27FC236}">
                <a16:creationId xmlns:a16="http://schemas.microsoft.com/office/drawing/2014/main" id="{A4FB5D33-F707-4355-AA51-EC4F3740E118}"/>
              </a:ext>
            </a:extLst>
          </p:cNvPr>
          <p:cNvSpPr/>
          <p:nvPr userDrawn="1"/>
        </p:nvSpPr>
        <p:spPr>
          <a:xfrm>
            <a:off x="547687" y="1799704"/>
            <a:ext cx="6742091" cy="3932907"/>
          </a:xfrm>
          <a:prstGeom prst="roundRect">
            <a:avLst>
              <a:gd name="adj" fmla="val 7562"/>
            </a:avLst>
          </a:prstGeom>
          <a:solidFill>
            <a:schemeClr val="bg1"/>
          </a:solidFill>
          <a:ln w="12700" cap="flat" cmpd="sng" algn="ctr">
            <a:solidFill>
              <a:srgbClr val="5A2259"/>
            </a:solidFill>
            <a:prstDash val="solid"/>
          </a:ln>
          <a:effectLst/>
        </p:spPr>
        <p:txBody>
          <a:bodyPr tIns="108000" rtlCol="0" anchor="t"/>
          <a:lstStyle/>
          <a:p>
            <a:pPr marL="0" marR="0" lvl="0" indent="0" algn="ctr" defTabSz="4572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100" normalizeH="0" baseline="0" noProof="0" dirty="0">
              <a:ln>
                <a:noFill/>
              </a:ln>
              <a:solidFill>
                <a:srgbClr val="4C5B68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Rectángulo redondeado 97">
            <a:extLst>
              <a:ext uri="{FF2B5EF4-FFF2-40B4-BE49-F238E27FC236}">
                <a16:creationId xmlns:a16="http://schemas.microsoft.com/office/drawing/2014/main" id="{E3565CBD-7499-40D0-9DA8-6DD1FCE4337E}"/>
              </a:ext>
            </a:extLst>
          </p:cNvPr>
          <p:cNvSpPr/>
          <p:nvPr userDrawn="1"/>
        </p:nvSpPr>
        <p:spPr>
          <a:xfrm>
            <a:off x="8047531" y="1799704"/>
            <a:ext cx="3634804" cy="3932907"/>
          </a:xfrm>
          <a:prstGeom prst="roundRect">
            <a:avLst>
              <a:gd name="adj" fmla="val 10838"/>
            </a:avLst>
          </a:prstGeom>
          <a:noFill/>
          <a:ln w="12700" cap="flat" cmpd="sng" algn="ctr">
            <a:solidFill>
              <a:srgbClr val="D3553F"/>
            </a:solidFill>
            <a:prstDash val="solid"/>
          </a:ln>
          <a:effectLst/>
        </p:spPr>
        <p:txBody>
          <a:bodyPr tIns="108000" rtlCol="0" anchor="t"/>
          <a:lstStyle/>
          <a:p>
            <a:pPr marL="0" marR="0" lvl="0" indent="0" algn="ctr" defTabSz="4572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100" normalizeH="0" baseline="0" noProof="0" dirty="0">
              <a:ln>
                <a:noFill/>
              </a:ln>
              <a:solidFill>
                <a:srgbClr val="4C5B68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Rectángulo redondeado 71">
            <a:extLst>
              <a:ext uri="{FF2B5EF4-FFF2-40B4-BE49-F238E27FC236}">
                <a16:creationId xmlns:a16="http://schemas.microsoft.com/office/drawing/2014/main" id="{56891ED6-134D-4226-83F8-62C6B3B2AC08}"/>
              </a:ext>
            </a:extLst>
          </p:cNvPr>
          <p:cNvSpPr/>
          <p:nvPr userDrawn="1"/>
        </p:nvSpPr>
        <p:spPr>
          <a:xfrm>
            <a:off x="8180512" y="1540560"/>
            <a:ext cx="3368842" cy="4042093"/>
          </a:xfrm>
          <a:prstGeom prst="roundRect">
            <a:avLst>
              <a:gd name="adj" fmla="val 5891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08000" bIns="0" rtlCol="0" anchor="ctr"/>
          <a:lstStyle/>
          <a:p>
            <a:pPr lvl="0" defTabSz="457200">
              <a:lnSpc>
                <a:spcPts val="1620"/>
              </a:lnSpc>
              <a:buSzPct val="100000"/>
              <a:buFont typeface="Trebuchet MS" panose="020B0603020202020204" pitchFamily="34" charset="0"/>
              <a:buChar char="​"/>
              <a:defRPr/>
            </a:pPr>
            <a:endParaRPr lang="en-US" sz="1200" spc="100" dirty="0">
              <a:solidFill>
                <a:srgbClr val="4C5B6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Marcador de texto 81">
            <a:extLst>
              <a:ext uri="{FF2B5EF4-FFF2-40B4-BE49-F238E27FC236}">
                <a16:creationId xmlns:a16="http://schemas.microsoft.com/office/drawing/2014/main" id="{A85BC50F-C04E-4C6C-9A65-8EC3959EC3F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444526" y="2163977"/>
            <a:ext cx="2840815" cy="3418675"/>
          </a:xfrm>
        </p:spPr>
        <p:txBody>
          <a:bodyPr/>
          <a:lstStyle/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14" name="Marcador de texto 13">
            <a:extLst>
              <a:ext uri="{FF2B5EF4-FFF2-40B4-BE49-F238E27FC236}">
                <a16:creationId xmlns:a16="http://schemas.microsoft.com/office/drawing/2014/main" id="{D01248E3-331A-4B7C-9881-6C59AC7A16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43913" y="1703451"/>
            <a:ext cx="2841428" cy="318021"/>
          </a:xfrm>
        </p:spPr>
        <p:txBody>
          <a:bodyPr anchor="b"/>
          <a:lstStyle>
            <a:lvl1pPr>
              <a:defRPr sz="1600">
                <a:solidFill>
                  <a:srgbClr val="D3553F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Lorem ipsum dolor</a:t>
            </a:r>
          </a:p>
        </p:txBody>
      </p:sp>
      <p:sp>
        <p:nvSpPr>
          <p:cNvPr id="17" name="Marcador de texto 16">
            <a:extLst>
              <a:ext uri="{FF2B5EF4-FFF2-40B4-BE49-F238E27FC236}">
                <a16:creationId xmlns:a16="http://schemas.microsoft.com/office/drawing/2014/main" id="{6FACE4DA-5C7C-4067-806E-D42EC9705F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6237" y="1603793"/>
            <a:ext cx="6264000" cy="243541"/>
          </a:xfrm>
        </p:spPr>
        <p:txBody>
          <a:bodyPr/>
          <a:lstStyle>
            <a:lvl1pPr>
              <a:defRPr sz="1600" b="1" cap="all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Title of graph</a:t>
            </a:r>
          </a:p>
        </p:txBody>
      </p:sp>
      <p:sp>
        <p:nvSpPr>
          <p:cNvPr id="19" name="Marcador de texto 18">
            <a:extLst>
              <a:ext uri="{FF2B5EF4-FFF2-40B4-BE49-F238E27FC236}">
                <a16:creationId xmlns:a16="http://schemas.microsoft.com/office/drawing/2014/main" id="{A59B49E9-588F-4C57-B690-EEC2204E76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6237" y="5790951"/>
            <a:ext cx="6264000" cy="550125"/>
          </a:xfrm>
        </p:spPr>
        <p:txBody>
          <a:bodyPr/>
          <a:lstStyle>
            <a:lvl1pPr>
              <a:defRPr sz="900" i="1">
                <a:solidFill>
                  <a:srgbClr val="8C9EAB"/>
                </a:solidFill>
              </a:defRPr>
            </a:lvl1pPr>
          </a:lstStyle>
          <a:p>
            <a:pPr lvl="0"/>
            <a:r>
              <a:rPr lang="en-US" noProof="0"/>
              <a:t>Graph notes</a:t>
            </a:r>
          </a:p>
        </p:txBody>
      </p:sp>
      <p:sp>
        <p:nvSpPr>
          <p:cNvPr id="21" name="Marcador de gráfico 20">
            <a:extLst>
              <a:ext uri="{FF2B5EF4-FFF2-40B4-BE49-F238E27FC236}">
                <a16:creationId xmlns:a16="http://schemas.microsoft.com/office/drawing/2014/main" id="{591C2347-0AE4-4827-A0BB-15C7D78BDFA0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746125" y="2020888"/>
            <a:ext cx="6264275" cy="3562350"/>
          </a:xfrm>
        </p:spPr>
        <p:txBody>
          <a:bodyPr bIns="1260000" anchor="ctr"/>
          <a:lstStyle>
            <a:lvl1pPr algn="ctr">
              <a:defRPr sz="1800" b="1"/>
            </a:lvl1pPr>
          </a:lstStyle>
          <a:p>
            <a:r>
              <a:rPr lang="en-GB" dirty="0"/>
              <a:t>Graph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4CA282D-964C-1224-599C-4EE697C576FA}"/>
              </a:ext>
            </a:extLst>
          </p:cNvPr>
          <p:cNvSpPr txBox="1">
            <a:spLocks/>
          </p:cNvSpPr>
          <p:nvPr userDrawn="1"/>
        </p:nvSpPr>
        <p:spPr>
          <a:xfrm>
            <a:off x="1190341" y="227013"/>
            <a:ext cx="9461269" cy="7623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9856898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>
            <a:extLst>
              <a:ext uri="{FF2B5EF4-FFF2-40B4-BE49-F238E27FC236}">
                <a16:creationId xmlns:a16="http://schemas.microsoft.com/office/drawing/2014/main" id="{A3E05040-690F-4E98-983D-25960FB4DB04}"/>
              </a:ext>
            </a:extLst>
          </p:cNvPr>
          <p:cNvSpPr/>
          <p:nvPr userDrawn="1"/>
        </p:nvSpPr>
        <p:spPr>
          <a:xfrm>
            <a:off x="0" y="2356482"/>
            <a:ext cx="12192000" cy="2767101"/>
          </a:xfrm>
          <a:prstGeom prst="rect">
            <a:avLst/>
          </a:prstGeom>
          <a:solidFill>
            <a:srgbClr val="43ABB6">
              <a:alpha val="1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4" name="Rectángulo redondeado 97">
            <a:extLst>
              <a:ext uri="{FF2B5EF4-FFF2-40B4-BE49-F238E27FC236}">
                <a16:creationId xmlns:a16="http://schemas.microsoft.com/office/drawing/2014/main" id="{A4FB5D33-F707-4355-AA51-EC4F3740E118}"/>
              </a:ext>
            </a:extLst>
          </p:cNvPr>
          <p:cNvSpPr/>
          <p:nvPr userDrawn="1"/>
        </p:nvSpPr>
        <p:spPr>
          <a:xfrm>
            <a:off x="547687" y="1799704"/>
            <a:ext cx="6742091" cy="3932907"/>
          </a:xfrm>
          <a:prstGeom prst="roundRect">
            <a:avLst>
              <a:gd name="adj" fmla="val 7562"/>
            </a:avLst>
          </a:prstGeom>
          <a:solidFill>
            <a:schemeClr val="bg1"/>
          </a:solidFill>
          <a:ln w="12700" cap="flat" cmpd="sng" algn="ctr">
            <a:solidFill>
              <a:srgbClr val="5A2259"/>
            </a:solidFill>
            <a:prstDash val="solid"/>
          </a:ln>
          <a:effectLst/>
        </p:spPr>
        <p:txBody>
          <a:bodyPr tIns="108000" rtlCol="0" anchor="t"/>
          <a:lstStyle/>
          <a:p>
            <a:pPr marL="0" marR="0" lvl="0" indent="0" algn="ctr" defTabSz="4572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100" normalizeH="0" baseline="0" noProof="0" dirty="0">
              <a:ln>
                <a:noFill/>
              </a:ln>
              <a:solidFill>
                <a:srgbClr val="4C5B68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Rectángulo redondeado 97">
            <a:extLst>
              <a:ext uri="{FF2B5EF4-FFF2-40B4-BE49-F238E27FC236}">
                <a16:creationId xmlns:a16="http://schemas.microsoft.com/office/drawing/2014/main" id="{E3565CBD-7499-40D0-9DA8-6DD1FCE4337E}"/>
              </a:ext>
            </a:extLst>
          </p:cNvPr>
          <p:cNvSpPr/>
          <p:nvPr userDrawn="1"/>
        </p:nvSpPr>
        <p:spPr>
          <a:xfrm>
            <a:off x="8047531" y="1799704"/>
            <a:ext cx="3634804" cy="3932907"/>
          </a:xfrm>
          <a:prstGeom prst="roundRect">
            <a:avLst>
              <a:gd name="adj" fmla="val 10838"/>
            </a:avLst>
          </a:prstGeom>
          <a:noFill/>
          <a:ln w="12700" cap="flat" cmpd="sng" algn="ctr">
            <a:solidFill>
              <a:srgbClr val="D3553F"/>
            </a:solidFill>
            <a:prstDash val="solid"/>
          </a:ln>
          <a:effectLst/>
        </p:spPr>
        <p:txBody>
          <a:bodyPr tIns="108000" rtlCol="0" anchor="t"/>
          <a:lstStyle/>
          <a:p>
            <a:pPr marL="0" marR="0" lvl="0" indent="0" algn="ctr" defTabSz="4572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100" normalizeH="0" baseline="0" noProof="0" dirty="0">
              <a:ln>
                <a:noFill/>
              </a:ln>
              <a:solidFill>
                <a:srgbClr val="4C5B68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Rectángulo redondeado 71">
            <a:extLst>
              <a:ext uri="{FF2B5EF4-FFF2-40B4-BE49-F238E27FC236}">
                <a16:creationId xmlns:a16="http://schemas.microsoft.com/office/drawing/2014/main" id="{56891ED6-134D-4226-83F8-62C6B3B2AC08}"/>
              </a:ext>
            </a:extLst>
          </p:cNvPr>
          <p:cNvSpPr/>
          <p:nvPr userDrawn="1"/>
        </p:nvSpPr>
        <p:spPr>
          <a:xfrm>
            <a:off x="8180512" y="1540560"/>
            <a:ext cx="3368842" cy="4042093"/>
          </a:xfrm>
          <a:prstGeom prst="roundRect">
            <a:avLst>
              <a:gd name="adj" fmla="val 5891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08000" bIns="0" rtlCol="0" anchor="ctr"/>
          <a:lstStyle/>
          <a:p>
            <a:pPr lvl="0" defTabSz="457200">
              <a:lnSpc>
                <a:spcPts val="1620"/>
              </a:lnSpc>
              <a:buSzPct val="100000"/>
              <a:buFont typeface="Trebuchet MS" panose="020B0603020202020204" pitchFamily="34" charset="0"/>
              <a:buChar char="​"/>
              <a:defRPr/>
            </a:pPr>
            <a:endParaRPr lang="en-US" sz="1200" spc="100" dirty="0">
              <a:solidFill>
                <a:srgbClr val="4C5B6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Marcador de texto 81">
            <a:extLst>
              <a:ext uri="{FF2B5EF4-FFF2-40B4-BE49-F238E27FC236}">
                <a16:creationId xmlns:a16="http://schemas.microsoft.com/office/drawing/2014/main" id="{A85BC50F-C04E-4C6C-9A65-8EC3959EC3F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444526" y="2163977"/>
            <a:ext cx="2840815" cy="3418675"/>
          </a:xfrm>
        </p:spPr>
        <p:txBody>
          <a:bodyPr/>
          <a:lstStyle/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14" name="Marcador de texto 13">
            <a:extLst>
              <a:ext uri="{FF2B5EF4-FFF2-40B4-BE49-F238E27FC236}">
                <a16:creationId xmlns:a16="http://schemas.microsoft.com/office/drawing/2014/main" id="{D01248E3-331A-4B7C-9881-6C59AC7A16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43913" y="1703451"/>
            <a:ext cx="2841428" cy="318021"/>
          </a:xfrm>
        </p:spPr>
        <p:txBody>
          <a:bodyPr anchor="b"/>
          <a:lstStyle>
            <a:lvl1pPr>
              <a:defRPr sz="1600">
                <a:solidFill>
                  <a:srgbClr val="D3553F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Lorem ipsum dolor</a:t>
            </a:r>
          </a:p>
        </p:txBody>
      </p:sp>
      <p:sp>
        <p:nvSpPr>
          <p:cNvPr id="17" name="Marcador de texto 16">
            <a:extLst>
              <a:ext uri="{FF2B5EF4-FFF2-40B4-BE49-F238E27FC236}">
                <a16:creationId xmlns:a16="http://schemas.microsoft.com/office/drawing/2014/main" id="{6FACE4DA-5C7C-4067-806E-D42EC9705F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6237" y="1603793"/>
            <a:ext cx="6264000" cy="243541"/>
          </a:xfrm>
        </p:spPr>
        <p:txBody>
          <a:bodyPr/>
          <a:lstStyle>
            <a:lvl1pPr>
              <a:defRPr sz="1600" b="1" cap="all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Title of graph</a:t>
            </a:r>
          </a:p>
        </p:txBody>
      </p:sp>
      <p:sp>
        <p:nvSpPr>
          <p:cNvPr id="19" name="Marcador de texto 18">
            <a:extLst>
              <a:ext uri="{FF2B5EF4-FFF2-40B4-BE49-F238E27FC236}">
                <a16:creationId xmlns:a16="http://schemas.microsoft.com/office/drawing/2014/main" id="{A59B49E9-588F-4C57-B690-EEC2204E76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6237" y="5790951"/>
            <a:ext cx="6264000" cy="550125"/>
          </a:xfrm>
        </p:spPr>
        <p:txBody>
          <a:bodyPr/>
          <a:lstStyle>
            <a:lvl1pPr>
              <a:defRPr sz="900" i="1">
                <a:solidFill>
                  <a:srgbClr val="8C9EAB"/>
                </a:solidFill>
              </a:defRPr>
            </a:lvl1pPr>
          </a:lstStyle>
          <a:p>
            <a:pPr lvl="0"/>
            <a:r>
              <a:rPr lang="en-US" noProof="0"/>
              <a:t>Graph notes</a:t>
            </a:r>
          </a:p>
        </p:txBody>
      </p:sp>
      <p:sp>
        <p:nvSpPr>
          <p:cNvPr id="21" name="Marcador de gráfico 20">
            <a:extLst>
              <a:ext uri="{FF2B5EF4-FFF2-40B4-BE49-F238E27FC236}">
                <a16:creationId xmlns:a16="http://schemas.microsoft.com/office/drawing/2014/main" id="{591C2347-0AE4-4827-A0BB-15C7D78BDFA0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746125" y="2020888"/>
            <a:ext cx="6264275" cy="3562350"/>
          </a:xfrm>
        </p:spPr>
        <p:txBody>
          <a:bodyPr bIns="1260000" anchor="ctr"/>
          <a:lstStyle>
            <a:lvl1pPr algn="ctr">
              <a:defRPr sz="1800" b="1"/>
            </a:lvl1pPr>
          </a:lstStyle>
          <a:p>
            <a:r>
              <a:rPr lang="en-GB" dirty="0"/>
              <a:t>Graph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EEB95E6-5999-0DE3-4B29-3371CCA9FD87}"/>
              </a:ext>
            </a:extLst>
          </p:cNvPr>
          <p:cNvSpPr txBox="1">
            <a:spLocks/>
          </p:cNvSpPr>
          <p:nvPr userDrawn="1"/>
        </p:nvSpPr>
        <p:spPr>
          <a:xfrm>
            <a:off x="1190341" y="227013"/>
            <a:ext cx="9461269" cy="7623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2954249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ángulo 12">
            <a:extLst>
              <a:ext uri="{FF2B5EF4-FFF2-40B4-BE49-F238E27FC236}">
                <a16:creationId xmlns:a16="http://schemas.microsoft.com/office/drawing/2014/main" id="{4EC101F5-9D0B-4D29-8F7C-3C55FAB9A77F}"/>
              </a:ext>
            </a:extLst>
          </p:cNvPr>
          <p:cNvSpPr/>
          <p:nvPr userDrawn="1"/>
        </p:nvSpPr>
        <p:spPr>
          <a:xfrm>
            <a:off x="0" y="1542355"/>
            <a:ext cx="12192000" cy="1476908"/>
          </a:xfrm>
          <a:prstGeom prst="rect">
            <a:avLst/>
          </a:prstGeom>
          <a:solidFill>
            <a:srgbClr val="8C9EAB">
              <a:alpha val="1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16" name="Rectángulo redondeado 112">
            <a:extLst>
              <a:ext uri="{FF2B5EF4-FFF2-40B4-BE49-F238E27FC236}">
                <a16:creationId xmlns:a16="http://schemas.microsoft.com/office/drawing/2014/main" id="{2309FD08-C0E7-4117-A02B-BFC86E786E58}"/>
              </a:ext>
            </a:extLst>
          </p:cNvPr>
          <p:cNvSpPr/>
          <p:nvPr userDrawn="1"/>
        </p:nvSpPr>
        <p:spPr>
          <a:xfrm flipH="1">
            <a:off x="6096000" y="1348923"/>
            <a:ext cx="5580378" cy="1863773"/>
          </a:xfrm>
          <a:prstGeom prst="rect">
            <a:avLst/>
          </a:prstGeom>
          <a:solidFill>
            <a:srgbClr val="D3553F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grpSp>
        <p:nvGrpSpPr>
          <p:cNvPr id="20" name="Grupo 19">
            <a:extLst>
              <a:ext uri="{FF2B5EF4-FFF2-40B4-BE49-F238E27FC236}">
                <a16:creationId xmlns:a16="http://schemas.microsoft.com/office/drawing/2014/main" id="{17DC9A3F-739E-4BB7-9BE4-8BC81A02F73C}"/>
              </a:ext>
            </a:extLst>
          </p:cNvPr>
          <p:cNvGrpSpPr/>
          <p:nvPr userDrawn="1"/>
        </p:nvGrpSpPr>
        <p:grpSpPr>
          <a:xfrm>
            <a:off x="5386437" y="1348923"/>
            <a:ext cx="1041631" cy="5388761"/>
            <a:chOff x="5385829" y="3721984"/>
            <a:chExt cx="1041631" cy="3046016"/>
          </a:xfrm>
        </p:grpSpPr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81E9A4B6-B775-4B30-BE04-CA8ED3AE0B87}"/>
                </a:ext>
              </a:extLst>
            </p:cNvPr>
            <p:cNvSpPr/>
            <p:nvPr/>
          </p:nvSpPr>
          <p:spPr>
            <a:xfrm>
              <a:off x="5713633" y="3721984"/>
              <a:ext cx="713827" cy="3038759"/>
            </a:xfrm>
            <a:prstGeom prst="rect">
              <a:avLst/>
            </a:prstGeom>
            <a:solidFill>
              <a:schemeClr val="tx1">
                <a:alpha val="32000"/>
              </a:schemeClr>
            </a:solidFill>
            <a:ln w="9525">
              <a:noFill/>
            </a:ln>
            <a:effectLst>
              <a:softEdge rad="3302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2" name="Rectángulo 21">
              <a:extLst>
                <a:ext uri="{FF2B5EF4-FFF2-40B4-BE49-F238E27FC236}">
                  <a16:creationId xmlns:a16="http://schemas.microsoft.com/office/drawing/2014/main" id="{F6A0B200-0CC5-4D2A-8AAA-CD30D0FE4F39}"/>
                </a:ext>
              </a:extLst>
            </p:cNvPr>
            <p:cNvSpPr/>
            <p:nvPr/>
          </p:nvSpPr>
          <p:spPr>
            <a:xfrm>
              <a:off x="5385829" y="3729242"/>
              <a:ext cx="713827" cy="303875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18" name="Rectángulo 17">
            <a:extLst>
              <a:ext uri="{FF2B5EF4-FFF2-40B4-BE49-F238E27FC236}">
                <a16:creationId xmlns:a16="http://schemas.microsoft.com/office/drawing/2014/main" id="{F989FA77-B19D-465F-9297-6B15B31BA453}"/>
              </a:ext>
            </a:extLst>
          </p:cNvPr>
          <p:cNvSpPr/>
          <p:nvPr userDrawn="1"/>
        </p:nvSpPr>
        <p:spPr>
          <a:xfrm>
            <a:off x="348307" y="1453437"/>
            <a:ext cx="11447016" cy="1863773"/>
          </a:xfrm>
          <a:prstGeom prst="rect">
            <a:avLst/>
          </a:prstGeom>
          <a:noFill/>
          <a:ln w="12700" cap="flat" cmpd="sng" algn="ctr">
            <a:gradFill>
              <a:gsLst>
                <a:gs pos="27000">
                  <a:srgbClr val="43ABB6"/>
                </a:gs>
                <a:gs pos="52000">
                  <a:srgbClr val="D3553F"/>
                </a:gs>
              </a:gsLst>
              <a:lin ang="0" scaled="0"/>
            </a:gra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cxnSp>
        <p:nvCxnSpPr>
          <p:cNvPr id="24" name="Conector recto 23">
            <a:extLst>
              <a:ext uri="{FF2B5EF4-FFF2-40B4-BE49-F238E27FC236}">
                <a16:creationId xmlns:a16="http://schemas.microsoft.com/office/drawing/2014/main" id="{A749055D-D40F-4C57-95F4-8495AA571D9D}"/>
              </a:ext>
            </a:extLst>
          </p:cNvPr>
          <p:cNvCxnSpPr>
            <a:cxnSpLocks/>
          </p:cNvCxnSpPr>
          <p:nvPr userDrawn="1"/>
        </p:nvCxnSpPr>
        <p:spPr>
          <a:xfrm>
            <a:off x="852717" y="2859796"/>
            <a:ext cx="0" cy="883329"/>
          </a:xfrm>
          <a:prstGeom prst="line">
            <a:avLst/>
          </a:prstGeom>
          <a:ln w="12700">
            <a:solidFill>
              <a:schemeClr val="tx2"/>
            </a:solidFill>
            <a:prstDash val="dash"/>
            <a:headEnd w="lg" len="med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cto 28">
            <a:extLst>
              <a:ext uri="{FF2B5EF4-FFF2-40B4-BE49-F238E27FC236}">
                <a16:creationId xmlns:a16="http://schemas.microsoft.com/office/drawing/2014/main" id="{D1DBE710-F316-4A46-A479-92F8C5EDBA6B}"/>
              </a:ext>
            </a:extLst>
          </p:cNvPr>
          <p:cNvCxnSpPr>
            <a:cxnSpLocks/>
          </p:cNvCxnSpPr>
          <p:nvPr userDrawn="1"/>
        </p:nvCxnSpPr>
        <p:spPr>
          <a:xfrm>
            <a:off x="6451060" y="2834396"/>
            <a:ext cx="0" cy="883329"/>
          </a:xfrm>
          <a:prstGeom prst="line">
            <a:avLst/>
          </a:prstGeom>
          <a:ln w="12700">
            <a:solidFill>
              <a:srgbClr val="D3553F"/>
            </a:solidFill>
            <a:prstDash val="dash"/>
            <a:headEnd w="lg" len="med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ángulo 24">
            <a:extLst>
              <a:ext uri="{FF2B5EF4-FFF2-40B4-BE49-F238E27FC236}">
                <a16:creationId xmlns:a16="http://schemas.microsoft.com/office/drawing/2014/main" id="{577DE68B-C390-463D-9DC7-110E49B1EF8B}"/>
              </a:ext>
            </a:extLst>
          </p:cNvPr>
          <p:cNvSpPr/>
          <p:nvPr userDrawn="1"/>
        </p:nvSpPr>
        <p:spPr>
          <a:xfrm>
            <a:off x="467709" y="1348923"/>
            <a:ext cx="5631947" cy="186377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9A870F9B-D0DC-43A0-ABB3-AB968AB4D2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93346" y="3615536"/>
            <a:ext cx="4425133" cy="2484634"/>
          </a:xfrm>
        </p:spPr>
        <p:txBody>
          <a:bodyPr/>
          <a:lstStyle/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9" name="Marcador de texto 8">
            <a:extLst>
              <a:ext uri="{FF2B5EF4-FFF2-40B4-BE49-F238E27FC236}">
                <a16:creationId xmlns:a16="http://schemas.microsoft.com/office/drawing/2014/main" id="{0D8EE4D9-40DB-41E3-9FE9-6FF0D78AF0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91689" y="3615536"/>
            <a:ext cx="4425133" cy="2484634"/>
          </a:xfrm>
        </p:spPr>
        <p:txBody>
          <a:bodyPr/>
          <a:lstStyle/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32" name="Marcador de texto 31">
            <a:extLst>
              <a:ext uri="{FF2B5EF4-FFF2-40B4-BE49-F238E27FC236}">
                <a16:creationId xmlns:a16="http://schemas.microsoft.com/office/drawing/2014/main" id="{12096F7E-5977-4FBA-BA7D-C1E063EACDE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2103" y="1614579"/>
            <a:ext cx="4644000" cy="394910"/>
          </a:xfrm>
        </p:spPr>
        <p:txBody>
          <a:bodyPr anchor="ctr"/>
          <a:lstStyle>
            <a:lvl1pPr>
              <a:defRPr sz="2800" b="1">
                <a:solidFill>
                  <a:srgbClr val="FFFFFF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Title</a:t>
            </a:r>
          </a:p>
        </p:txBody>
      </p:sp>
      <p:sp>
        <p:nvSpPr>
          <p:cNvPr id="34" name="Marcador de texto 33">
            <a:extLst>
              <a:ext uri="{FF2B5EF4-FFF2-40B4-BE49-F238E27FC236}">
                <a16:creationId xmlns:a16="http://schemas.microsoft.com/office/drawing/2014/main" id="{3A7B9A7A-18B8-4968-BA6B-C82CA0F5CD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2103" y="2032961"/>
            <a:ext cx="4644000" cy="986302"/>
          </a:xfrm>
        </p:spPr>
        <p:txBody>
          <a:bodyPr/>
          <a:lstStyle>
            <a:lvl1pPr>
              <a:defRPr sz="1400" baseline="0">
                <a:solidFill>
                  <a:schemeClr val="bg1">
                    <a:alpha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endParaRPr lang="en-US" noProof="0" dirty="0"/>
          </a:p>
        </p:txBody>
      </p:sp>
      <p:sp>
        <p:nvSpPr>
          <p:cNvPr id="37" name="Marcador de texto 31">
            <a:extLst>
              <a:ext uri="{FF2B5EF4-FFF2-40B4-BE49-F238E27FC236}">
                <a16:creationId xmlns:a16="http://schemas.microsoft.com/office/drawing/2014/main" id="{9551043E-38D0-497E-8ACD-F227943B8ED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47963" y="1621924"/>
            <a:ext cx="4644000" cy="394910"/>
          </a:xfrm>
        </p:spPr>
        <p:txBody>
          <a:bodyPr anchor="ctr"/>
          <a:lstStyle>
            <a:lvl1pPr>
              <a:defRPr sz="2800" b="1">
                <a:solidFill>
                  <a:srgbClr val="FFFFFF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Title</a:t>
            </a:r>
          </a:p>
        </p:txBody>
      </p:sp>
      <p:sp>
        <p:nvSpPr>
          <p:cNvPr id="38" name="Marcador de texto 33">
            <a:extLst>
              <a:ext uri="{FF2B5EF4-FFF2-40B4-BE49-F238E27FC236}">
                <a16:creationId xmlns:a16="http://schemas.microsoft.com/office/drawing/2014/main" id="{DCC3E33E-CD51-4D68-AC6D-45EE4329382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7963" y="2040306"/>
            <a:ext cx="4644000" cy="986302"/>
          </a:xfrm>
        </p:spPr>
        <p:txBody>
          <a:bodyPr/>
          <a:lstStyle>
            <a:lvl1pPr>
              <a:defRPr sz="1400" baseline="0">
                <a:solidFill>
                  <a:schemeClr val="bg1">
                    <a:alpha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endParaRPr lang="en-US" noProof="0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F4890D2-1EE3-3B73-623E-43301D70B4CB}"/>
              </a:ext>
            </a:extLst>
          </p:cNvPr>
          <p:cNvSpPr txBox="1">
            <a:spLocks/>
          </p:cNvSpPr>
          <p:nvPr userDrawn="1"/>
        </p:nvSpPr>
        <p:spPr>
          <a:xfrm>
            <a:off x="1190341" y="227013"/>
            <a:ext cx="9461269" cy="7623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6714667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ángulo 18">
            <a:extLst>
              <a:ext uri="{FF2B5EF4-FFF2-40B4-BE49-F238E27FC236}">
                <a16:creationId xmlns:a16="http://schemas.microsoft.com/office/drawing/2014/main" id="{99DF4E13-A196-4A1F-982F-A79E11E60F28}"/>
              </a:ext>
            </a:extLst>
          </p:cNvPr>
          <p:cNvSpPr/>
          <p:nvPr userDrawn="1"/>
        </p:nvSpPr>
        <p:spPr>
          <a:xfrm>
            <a:off x="0" y="2257623"/>
            <a:ext cx="12192000" cy="3392740"/>
          </a:xfrm>
          <a:prstGeom prst="rect">
            <a:avLst/>
          </a:prstGeom>
          <a:solidFill>
            <a:srgbClr val="D3553F">
              <a:alpha val="1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F03D36B0-D8D7-4719-A74B-706B315234CA}"/>
              </a:ext>
            </a:extLst>
          </p:cNvPr>
          <p:cNvSpPr/>
          <p:nvPr userDrawn="1"/>
        </p:nvSpPr>
        <p:spPr>
          <a:xfrm>
            <a:off x="2883635" y="1833800"/>
            <a:ext cx="6607561" cy="1702587"/>
          </a:xfrm>
          <a:prstGeom prst="rect">
            <a:avLst/>
          </a:prstGeom>
          <a:solidFill>
            <a:schemeClr val="tx1">
              <a:alpha val="31000"/>
            </a:schemeClr>
          </a:solidFill>
          <a:ln>
            <a:noFill/>
          </a:ln>
          <a:effectLst>
            <a:softEdge rad="20320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100" normalizeH="0" baseline="0" noProof="0" dirty="0">
              <a:ln>
                <a:noFill/>
              </a:ln>
              <a:solidFill>
                <a:srgbClr val="C5CED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id="{B613C63C-FDC8-46A5-9FB2-C9505D609D48}"/>
              </a:ext>
            </a:extLst>
          </p:cNvPr>
          <p:cNvSpPr/>
          <p:nvPr userDrawn="1"/>
        </p:nvSpPr>
        <p:spPr>
          <a:xfrm>
            <a:off x="2747610" y="1833799"/>
            <a:ext cx="6567115" cy="1702588"/>
          </a:xfrm>
          <a:prstGeom prst="rect">
            <a:avLst/>
          </a:prstGeom>
          <a:noFill/>
          <a:ln w="12700">
            <a:solidFill>
              <a:srgbClr val="43ABB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100" normalizeH="0" baseline="0" noProof="0" dirty="0">
              <a:ln>
                <a:noFill/>
              </a:ln>
              <a:solidFill>
                <a:srgbClr val="C5CED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id="{05BFB397-0A46-4C7C-A573-9FE7441CDA01}"/>
              </a:ext>
            </a:extLst>
          </p:cNvPr>
          <p:cNvSpPr/>
          <p:nvPr userDrawn="1"/>
        </p:nvSpPr>
        <p:spPr>
          <a:xfrm>
            <a:off x="2877267" y="1833798"/>
            <a:ext cx="6437465" cy="1702589"/>
          </a:xfrm>
          <a:prstGeom prst="rect">
            <a:avLst/>
          </a:prstGeom>
          <a:solidFill>
            <a:srgbClr val="43ABB6"/>
          </a:solidFill>
          <a:ln>
            <a:noFill/>
          </a:ln>
          <a:effectLst>
            <a:outerShdw blurRad="114300" dist="38100" dir="360000" algn="tl" rotWithShape="0">
              <a:prstClr val="black">
                <a:alpha val="13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endParaRPr lang="en-GB" sz="1400" spc="100" dirty="0">
              <a:solidFill>
                <a:srgbClr val="FFFFFF">
                  <a:alpha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Marcador de texto 31">
            <a:extLst>
              <a:ext uri="{FF2B5EF4-FFF2-40B4-BE49-F238E27FC236}">
                <a16:creationId xmlns:a16="http://schemas.microsoft.com/office/drawing/2014/main" id="{12096F7E-5977-4FBA-BA7D-C1E063EACDE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31851" y="1956340"/>
            <a:ext cx="6128297" cy="720000"/>
          </a:xfrm>
        </p:spPr>
        <p:txBody>
          <a:bodyPr anchor="b"/>
          <a:lstStyle>
            <a:lvl1pPr algn="ctr">
              <a:defRPr sz="2800" b="1" cap="all" baseline="0">
                <a:solidFill>
                  <a:srgbClr val="FFFFFF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Title</a:t>
            </a:r>
          </a:p>
        </p:txBody>
      </p:sp>
      <p:sp>
        <p:nvSpPr>
          <p:cNvPr id="34" name="Marcador de texto 33">
            <a:extLst>
              <a:ext uri="{FF2B5EF4-FFF2-40B4-BE49-F238E27FC236}">
                <a16:creationId xmlns:a16="http://schemas.microsoft.com/office/drawing/2014/main" id="{3A7B9A7A-18B8-4968-BA6B-C82CA0F5CD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031851" y="2714279"/>
            <a:ext cx="6128297" cy="720000"/>
          </a:xfrm>
        </p:spPr>
        <p:txBody>
          <a:bodyPr/>
          <a:lstStyle>
            <a:lvl1pPr algn="ctr">
              <a:defRPr sz="1800" baseline="0">
                <a:solidFill>
                  <a:schemeClr val="bg1">
                    <a:alpha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endParaRPr lang="en-US" noProof="0" dirty="0"/>
          </a:p>
        </p:txBody>
      </p: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id="{54609F7D-AEC1-45B7-854E-FBF4BBA488C1}"/>
              </a:ext>
            </a:extLst>
          </p:cNvPr>
          <p:cNvCxnSpPr>
            <a:cxnSpLocks/>
          </p:cNvCxnSpPr>
          <p:nvPr userDrawn="1"/>
        </p:nvCxnSpPr>
        <p:spPr>
          <a:xfrm>
            <a:off x="3034126" y="3536387"/>
            <a:ext cx="0" cy="445894"/>
          </a:xfrm>
          <a:prstGeom prst="line">
            <a:avLst/>
          </a:prstGeom>
          <a:ln w="12700" cap="rnd">
            <a:solidFill>
              <a:srgbClr val="D3553F"/>
            </a:solidFill>
            <a:prstDash val="dash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867734D-077E-4843-BFC9-1D1FFC02599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02440" y="3875487"/>
            <a:ext cx="5957706" cy="1600438"/>
          </a:xfrm>
        </p:spPr>
        <p:txBody>
          <a:bodyPr/>
          <a:lstStyle>
            <a:lvl1pPr>
              <a:defRPr sz="1400" b="1">
                <a:solidFill>
                  <a:srgbClr val="D3553F"/>
                </a:solidFill>
              </a:defRPr>
            </a:lvl1pPr>
          </a:lstStyle>
          <a:p>
            <a:pPr lvl="0"/>
            <a:r>
              <a:rPr lang="es-ES" dirty="0"/>
              <a:t>Text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E2D5AC2-731E-15F8-3950-7F76DF23ABD0}"/>
              </a:ext>
            </a:extLst>
          </p:cNvPr>
          <p:cNvSpPr txBox="1">
            <a:spLocks/>
          </p:cNvSpPr>
          <p:nvPr userDrawn="1"/>
        </p:nvSpPr>
        <p:spPr>
          <a:xfrm>
            <a:off x="1190341" y="227013"/>
            <a:ext cx="9461269" cy="7623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3564607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BDE826D-6E69-4E2C-9278-C90B59C88619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A2259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 err="1">
              <a:solidFill>
                <a:srgbClr val="000000"/>
              </a:solidFill>
              <a:latin typeface="Franklin Gothic Medium" panose="020B0603020102020204" pitchFamily="34" charset="0"/>
              <a:ea typeface="+mj-ea"/>
              <a:cs typeface="Arial" pitchFamily="34" charset="0"/>
              <a:sym typeface="Franklin Gothic Medium" panose="020B0603020102020204" pitchFamily="34" charset="0"/>
            </a:endParaRP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62709" y="1508125"/>
            <a:ext cx="11068539" cy="459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396786" y="6483356"/>
            <a:ext cx="234463" cy="13335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14D992F-7007-473D-9CAC-8B17A67E3C5E}" type="slidenum">
              <a:rPr lang="en-US" sz="900" smtClean="0">
                <a:solidFill>
                  <a:srgbClr val="5A2259"/>
                </a:solidFill>
              </a:rPr>
              <a:pPr>
                <a:defRPr/>
              </a:pPr>
              <a:t>‹#›</a:t>
            </a:fld>
            <a:endParaRPr lang="en-US" sz="900" dirty="0">
              <a:solidFill>
                <a:srgbClr val="5A2259"/>
              </a:solidFill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08D76A75-1154-4ECC-8C0B-DCF50CEE654F}"/>
              </a:ext>
            </a:extLst>
          </p:cNvPr>
          <p:cNvSpPr/>
          <p:nvPr userDrawn="1"/>
        </p:nvSpPr>
        <p:spPr>
          <a:xfrm>
            <a:off x="0" y="497001"/>
            <a:ext cx="243730" cy="540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6"/>
              </a:gs>
            </a:gsLst>
            <a:lin ang="5400000" scaled="1"/>
            <a:tileRect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1FE64F5C-7B9C-4791-970E-61569465B98C}"/>
              </a:ext>
            </a:extLst>
          </p:cNvPr>
          <p:cNvSpPr/>
          <p:nvPr userDrawn="1"/>
        </p:nvSpPr>
        <p:spPr>
          <a:xfrm>
            <a:off x="0" y="6768000"/>
            <a:ext cx="12192000" cy="90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6"/>
              </a:gs>
            </a:gsLst>
            <a:lin ang="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24" name="Picture 2">
            <a:extLst>
              <a:ext uri="{FF2B5EF4-FFF2-40B4-BE49-F238E27FC236}">
                <a16:creationId xmlns:a16="http://schemas.microsoft.com/office/drawing/2014/main" id="{8C9F09AB-38FF-4F16-BDAD-DC3FB40BBDB0}"/>
              </a:ext>
            </a:extLst>
          </p:cNvPr>
          <p:cNvPicPr>
            <a:picLocks noChangeAspect="1"/>
          </p:cNvPicPr>
          <p:nvPr userDrawn="1"/>
        </p:nvPicPr>
        <p:blipFill>
          <a:blip r:embed="rId23"/>
          <a:srcRect/>
          <a:stretch/>
        </p:blipFill>
        <p:spPr>
          <a:xfrm>
            <a:off x="10363029" y="256205"/>
            <a:ext cx="1561591" cy="78079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EC26A64-C6B6-A5B4-2369-A1B5E4942B59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137" y="256205"/>
            <a:ext cx="899409" cy="911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1901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88" r:id="rId1"/>
    <p:sldLayoutId id="2147485489" r:id="rId2"/>
    <p:sldLayoutId id="2147485476" r:id="rId3"/>
    <p:sldLayoutId id="2147485495" r:id="rId4"/>
    <p:sldLayoutId id="2147485490" r:id="rId5"/>
    <p:sldLayoutId id="2147485491" r:id="rId6"/>
    <p:sldLayoutId id="2147485494" r:id="rId7"/>
    <p:sldLayoutId id="2147485492" r:id="rId8"/>
    <p:sldLayoutId id="2147485493" r:id="rId9"/>
    <p:sldLayoutId id="2147485496" r:id="rId10"/>
    <p:sldLayoutId id="2147485498" r:id="rId11"/>
    <p:sldLayoutId id="2147485497" r:id="rId12"/>
    <p:sldLayoutId id="2147485499" r:id="rId13"/>
    <p:sldLayoutId id="2147485500" r:id="rId14"/>
    <p:sldLayoutId id="2147485501" r:id="rId15"/>
    <p:sldLayoutId id="2147485509" r:id="rId16"/>
    <p:sldLayoutId id="2147485510" r:id="rId17"/>
  </p:sldLayoutIdLs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0" kern="1200" cap="all" spc="300" baseline="0">
          <a:solidFill>
            <a:srgbClr val="8C9EAB"/>
          </a:solidFill>
          <a:latin typeface="Franklin Gothic Medium"/>
          <a:ea typeface="+mj-ea"/>
          <a:cs typeface="Franklin Gothic Medium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defRPr sz="2400" b="0" kern="1200" spc="100" baseline="0">
          <a:solidFill>
            <a:srgbClr val="4C5B68"/>
          </a:solidFill>
          <a:latin typeface="+mn-lt"/>
          <a:ea typeface="+mn-ea"/>
          <a:cs typeface="+mn-cs"/>
        </a:defRPr>
      </a:lvl1pPr>
      <a:lvl2pPr marL="274638" indent="-274638" algn="l" rtl="0" eaLnBrk="1" fontAlgn="base" hangingPunct="1">
        <a:spcBef>
          <a:spcPct val="20000"/>
        </a:spcBef>
        <a:spcAft>
          <a:spcPct val="0"/>
        </a:spcAft>
        <a:buClr>
          <a:srgbClr val="5A2259"/>
        </a:buClr>
        <a:buFont typeface="Wingdings" panose="05000000000000000000" pitchFamily="2" charset="2"/>
        <a:buChar char="§"/>
        <a:tabLst/>
        <a:defRPr sz="2000" kern="1200">
          <a:solidFill>
            <a:srgbClr val="5A2259"/>
          </a:solidFill>
          <a:latin typeface="Franklin Gothic Medium" panose="020B0603020102020204" pitchFamily="34" charset="0"/>
          <a:ea typeface="+mn-ea"/>
          <a:cs typeface="+mn-cs"/>
        </a:defRPr>
      </a:lvl2pPr>
      <a:lvl3pPr marL="274638" indent="-27463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tabLst/>
        <a:defRPr sz="1600" kern="1200">
          <a:solidFill>
            <a:srgbClr val="43ABB6"/>
          </a:solidFill>
          <a:latin typeface="Franklin Gothic Medium" panose="020B0603020102020204" pitchFamily="34" charset="0"/>
          <a:ea typeface="+mn-ea"/>
          <a:cs typeface="+mn-cs"/>
        </a:defRPr>
      </a:lvl3pPr>
      <a:lvl4pPr marL="274638" indent="-265113" algn="l" rtl="0" eaLnBrk="1" fontAlgn="base" hangingPunct="1">
        <a:spcBef>
          <a:spcPct val="20000"/>
        </a:spcBef>
        <a:spcAft>
          <a:spcPct val="0"/>
        </a:spcAft>
        <a:buClr>
          <a:srgbClr val="E93F47"/>
        </a:buClr>
        <a:buFont typeface="Wingdings" panose="05000000000000000000" pitchFamily="2" charset="2"/>
        <a:buChar char="§"/>
        <a:tabLst/>
        <a:defRPr sz="1400" kern="1200">
          <a:solidFill>
            <a:srgbClr val="D3553F"/>
          </a:solidFill>
          <a:latin typeface="Franklin Gothic Medium" panose="020B0603020102020204" pitchFamily="34" charset="0"/>
          <a:ea typeface="+mn-ea"/>
          <a:cs typeface="+mn-cs"/>
        </a:defRPr>
      </a:lvl4pPr>
      <a:lvl5pPr marL="274638" indent="-265113" algn="l" rtl="0" eaLnBrk="1" fontAlgn="base" hangingPunct="1">
        <a:spcBef>
          <a:spcPct val="20000"/>
        </a:spcBef>
        <a:spcAft>
          <a:spcPct val="0"/>
        </a:spcAft>
        <a:buClr>
          <a:srgbClr val="8C9EAB"/>
        </a:buClr>
        <a:buFont typeface="Wingdings" panose="05000000000000000000" pitchFamily="2" charset="2"/>
        <a:buChar char="§"/>
        <a:tabLst/>
        <a:defRPr sz="1200" kern="1200">
          <a:solidFill>
            <a:srgbClr val="8C9EAB"/>
          </a:solidFill>
          <a:latin typeface="Franklin Gothic Medium" panose="020B06030201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39AF35-02DA-E2A6-BBBB-180F1665BA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93521" y="5781269"/>
            <a:ext cx="3953466" cy="497069"/>
          </a:xfrm>
        </p:spPr>
        <p:txBody>
          <a:bodyPr wrap="square" anchor="t">
            <a:normAutofit/>
          </a:bodyPr>
          <a:lstStyle/>
          <a:p>
            <a:r>
              <a:rPr lang="en-US" b="1" dirty="0"/>
              <a:t>10-12-2024</a:t>
            </a:r>
            <a:endParaRPr lang="en-IN" b="1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67D699D-9251-A6CD-9B00-4EDD82B4D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3521" y="3986157"/>
            <a:ext cx="3132000" cy="831850"/>
          </a:xfrm>
        </p:spPr>
        <p:txBody>
          <a:bodyPr anchor="b">
            <a:normAutofit/>
          </a:bodyPr>
          <a:lstStyle/>
          <a:p>
            <a:r>
              <a:rPr lang="en-IN"/>
              <a:t> 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46A141C7-82EF-AD22-B793-DD9D7DAB6C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55311" y="4369757"/>
            <a:ext cx="3865977" cy="831850"/>
          </a:xfrm>
        </p:spPr>
        <p:txBody>
          <a:bodyPr wrap="square" anchor="t">
            <a:normAutofit fontScale="92500"/>
          </a:bodyPr>
          <a:lstStyle/>
          <a:p>
            <a:pPr>
              <a:spcAft>
                <a:spcPts val="600"/>
              </a:spcAft>
            </a:pPr>
            <a:r>
              <a:rPr lang="en-US" sz="2400" b="1" dirty="0">
                <a:solidFill>
                  <a:schemeClr val="bg1">
                    <a:alpha val="85000"/>
                  </a:schemeClr>
                </a:solidFill>
              </a:rPr>
              <a:t>Roles and Responsibilities in Quality Assurance program for </a:t>
            </a:r>
            <a:r>
              <a:rPr lang="en-US" sz="2400" b="1" dirty="0" err="1">
                <a:solidFill>
                  <a:schemeClr val="bg1">
                    <a:alpha val="85000"/>
                  </a:schemeClr>
                </a:solidFill>
              </a:rPr>
              <a:t>mWRDs</a:t>
            </a:r>
            <a:r>
              <a:rPr lang="en-US" sz="2400" b="1" dirty="0">
                <a:solidFill>
                  <a:schemeClr val="bg1">
                    <a:alpha val="85000"/>
                  </a:schemeClr>
                </a:solidFill>
              </a:rPr>
              <a:t> including EQA P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61E4233-CE48-3EC8-E040-EF8DB569CE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9498" y="693174"/>
            <a:ext cx="7232502" cy="5585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61763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D3499C-9ABA-7FF5-A5E7-1DD95FD8D0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913DA88-E482-7E69-BE57-B2B625E5A18B}"/>
              </a:ext>
            </a:extLst>
          </p:cNvPr>
          <p:cNvSpPr txBox="1"/>
          <p:nvPr/>
        </p:nvSpPr>
        <p:spPr>
          <a:xfrm>
            <a:off x="1354850" y="320858"/>
            <a:ext cx="9177453" cy="677108"/>
          </a:xfrm>
          <a:prstGeom prst="rect">
            <a:avLst/>
          </a:prstGeom>
          <a:noFill/>
        </p:spPr>
        <p:txBody>
          <a:bodyPr wrap="square" tIns="91440" bIns="91440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accent1"/>
                </a:solidFill>
              </a:rPr>
              <a:t>District Surveillance Medical Officer (DSMO’s)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81088B2-ACE0-3D84-0F44-A7DE197B75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N" dirty="0"/>
              <a:t>Overall monitoring and supervision of mWRD sites in the district</a:t>
            </a:r>
          </a:p>
          <a:p>
            <a:pPr lvl="1"/>
            <a:r>
              <a:rPr lang="en-IN" dirty="0"/>
              <a:t>Ensuring all sites are functional and monitor calibration of equipment</a:t>
            </a:r>
          </a:p>
          <a:p>
            <a:pPr lvl="1"/>
            <a:r>
              <a:rPr lang="en-IN" dirty="0"/>
              <a:t>Ensuring consumables and logistics are available</a:t>
            </a:r>
          </a:p>
          <a:p>
            <a:pPr lvl="1"/>
            <a:r>
              <a:rPr lang="en-IN" dirty="0"/>
              <a:t>All sites are adequately staffed with trained manpower</a:t>
            </a:r>
          </a:p>
          <a:p>
            <a:pPr lvl="1"/>
            <a:r>
              <a:rPr lang="en-IN" dirty="0"/>
              <a:t>Coordination at higher level if issues are not resolved</a:t>
            </a:r>
          </a:p>
          <a:p>
            <a:pPr lvl="1"/>
            <a:r>
              <a:rPr lang="en-IN" dirty="0"/>
              <a:t>Supporting RTRL’s for monitoring &amp; training activities</a:t>
            </a:r>
          </a:p>
          <a:p>
            <a:pPr lvl="1"/>
            <a:r>
              <a:rPr lang="en-IN" dirty="0"/>
              <a:t>Encouraging new sites to participate in programme</a:t>
            </a:r>
          </a:p>
          <a:p>
            <a:endParaRPr lang="en-IN" dirty="0"/>
          </a:p>
          <a:p>
            <a:r>
              <a:rPr lang="en-IN" dirty="0"/>
              <a:t>Support in conducting PT round </a:t>
            </a:r>
          </a:p>
          <a:p>
            <a:pPr lvl="1"/>
            <a:r>
              <a:rPr lang="en-US" dirty="0"/>
              <a:t>Under guidance of NTP, support for monitoring progress of the implementation of EQA PT round and do trouble shooting as appropriat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28201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27CB11-D359-A665-DA1B-3BFA4CCA84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0963334-B056-AACE-1C69-C69269326A3B}"/>
              </a:ext>
            </a:extLst>
          </p:cNvPr>
          <p:cNvSpPr txBox="1"/>
          <p:nvPr/>
        </p:nvSpPr>
        <p:spPr>
          <a:xfrm>
            <a:off x="1360449" y="256477"/>
            <a:ext cx="9177453" cy="769441"/>
          </a:xfrm>
          <a:prstGeom prst="rect">
            <a:avLst/>
          </a:prstGeom>
          <a:noFill/>
        </p:spPr>
        <p:txBody>
          <a:bodyPr wrap="square" tIns="91440" bIns="91440" rtlCol="0">
            <a:spAutoFit/>
          </a:bodyPr>
          <a:lstStyle/>
          <a:p>
            <a:pPr algn="ctr"/>
            <a:r>
              <a:rPr lang="en-US" sz="3800" b="1" dirty="0">
                <a:solidFill>
                  <a:schemeClr val="accent1"/>
                </a:solidFill>
              </a:rPr>
              <a:t>EQA Controller 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D486EF1-EF98-1621-78C0-12B1F157A29C}"/>
              </a:ext>
            </a:extLst>
          </p:cNvPr>
          <p:cNvSpPr txBox="1"/>
          <p:nvPr/>
        </p:nvSpPr>
        <p:spPr>
          <a:xfrm>
            <a:off x="215755" y="4318612"/>
            <a:ext cx="241727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/>
              <a:t>Visit mWRD sites and do onsite visit at least once in a month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9F55F17-E0F6-E6A1-0AD7-D9012CC6BF25}"/>
              </a:ext>
            </a:extLst>
          </p:cNvPr>
          <p:cNvSpPr txBox="1"/>
          <p:nvPr/>
        </p:nvSpPr>
        <p:spPr>
          <a:xfrm>
            <a:off x="3243558" y="4329630"/>
            <a:ext cx="24172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/>
              <a:t>Inspect instrument functionalities and reagent supplies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B91D5EA-2C78-5888-2346-1E00487433ED}"/>
              </a:ext>
            </a:extLst>
          </p:cNvPr>
          <p:cNvSpPr txBox="1"/>
          <p:nvPr/>
        </p:nvSpPr>
        <p:spPr>
          <a:xfrm>
            <a:off x="9440267" y="4329630"/>
            <a:ext cx="241727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/>
              <a:t>Ensure monthly indicators correctly reported and turn around time of results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F9337E7-8AC8-780B-47E0-53F00CA150AB}"/>
              </a:ext>
            </a:extLst>
          </p:cNvPr>
          <p:cNvSpPr txBox="1"/>
          <p:nvPr/>
        </p:nvSpPr>
        <p:spPr>
          <a:xfrm>
            <a:off x="6205992" y="4471012"/>
            <a:ext cx="241727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/>
              <a:t>Check lab registers, logs, reagent storage, verification of correct reporting and patient results</a:t>
            </a:r>
          </a:p>
        </p:txBody>
      </p:sp>
      <p:graphicFrame>
        <p:nvGraphicFramePr>
          <p:cNvPr id="14" name="Content Placeholder 4">
            <a:extLst>
              <a:ext uri="{FF2B5EF4-FFF2-40B4-BE49-F238E27FC236}">
                <a16:creationId xmlns:a16="http://schemas.microsoft.com/office/drawing/2014/main" id="{42E3BE61-5D5D-D602-20C4-8B64FD6AF3C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99516061"/>
              </p:ext>
            </p:extLst>
          </p:nvPr>
        </p:nvGraphicFramePr>
        <p:xfrm>
          <a:off x="215755" y="1042338"/>
          <a:ext cx="11478091" cy="38688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0856335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D91A69-E4B2-BFF5-EF02-3211E8127B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1D546F1-0F43-78F8-0A1C-7B03D1760AFF}"/>
              </a:ext>
            </a:extLst>
          </p:cNvPr>
          <p:cNvSpPr txBox="1"/>
          <p:nvPr/>
        </p:nvSpPr>
        <p:spPr>
          <a:xfrm>
            <a:off x="1360449" y="256477"/>
            <a:ext cx="9177453" cy="769441"/>
          </a:xfrm>
          <a:prstGeom prst="rect">
            <a:avLst/>
          </a:prstGeom>
          <a:noFill/>
        </p:spPr>
        <p:txBody>
          <a:bodyPr wrap="square" tIns="91440" bIns="91440" rtlCol="0">
            <a:spAutoFit/>
          </a:bodyPr>
          <a:lstStyle/>
          <a:p>
            <a:pPr algn="ctr"/>
            <a:r>
              <a:rPr lang="en-US" sz="3800" b="1" dirty="0">
                <a:solidFill>
                  <a:schemeClr val="accent1"/>
                </a:solidFill>
              </a:rPr>
              <a:t>Medical Technologist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447E652-58C4-86B2-A4EC-3D2BDF5782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2709" y="1286904"/>
            <a:ext cx="11068539" cy="5136755"/>
          </a:xfrm>
        </p:spPr>
        <p:txBody>
          <a:bodyPr/>
          <a:lstStyle/>
          <a:p>
            <a:r>
              <a:rPr lang="en-US" sz="2200" dirty="0"/>
              <a:t>Testing:</a:t>
            </a:r>
          </a:p>
          <a:p>
            <a:pPr lvl="1"/>
            <a:r>
              <a:rPr lang="en-US" dirty="0"/>
              <a:t>Ensure proper specimen collection, specimen processing and testing as per SOPs</a:t>
            </a:r>
          </a:p>
          <a:p>
            <a:pPr lvl="1"/>
            <a:r>
              <a:rPr lang="en-US" dirty="0"/>
              <a:t>Provide accurate and timely results for samples received for testing</a:t>
            </a:r>
          </a:p>
          <a:p>
            <a:pPr lvl="1"/>
            <a:r>
              <a:rPr lang="en-US" dirty="0"/>
              <a:t>Ensure proper recording and reporting</a:t>
            </a:r>
          </a:p>
          <a:p>
            <a:endParaRPr lang="en-US" sz="2200" dirty="0"/>
          </a:p>
          <a:p>
            <a:r>
              <a:rPr lang="en-US" sz="2200" dirty="0"/>
              <a:t>Maintenance</a:t>
            </a:r>
          </a:p>
          <a:p>
            <a:pPr lvl="1"/>
            <a:r>
              <a:rPr lang="en-US" dirty="0"/>
              <a:t>To keep laboratory and work benches clean</a:t>
            </a:r>
          </a:p>
          <a:p>
            <a:pPr lvl="1"/>
            <a:r>
              <a:rPr lang="en-US" dirty="0"/>
              <a:t>To follow good laboratory practices (i.e., no eating, no drinking &amp; no smoking inside the lab) including safe disposal of contaminated materials</a:t>
            </a:r>
          </a:p>
          <a:p>
            <a:pPr lvl="1"/>
            <a:r>
              <a:rPr lang="en-US" dirty="0"/>
              <a:t>Perform daily, weekly and monthly maintenance of equipment including data archival</a:t>
            </a:r>
          </a:p>
          <a:p>
            <a:endParaRPr lang="en-US" sz="2200" dirty="0"/>
          </a:p>
          <a:p>
            <a:r>
              <a:rPr lang="en-US" sz="2200" dirty="0"/>
              <a:t>Share monthly indicators on time and follow guidance provided by RTRLs and DSMO</a:t>
            </a:r>
          </a:p>
          <a:p>
            <a:r>
              <a:rPr lang="en-US" sz="2200" dirty="0"/>
              <a:t>Perform testing of PT panels as per protocol and submit the results</a:t>
            </a:r>
          </a:p>
        </p:txBody>
      </p:sp>
    </p:spTree>
    <p:extLst>
      <p:ext uri="{BB962C8B-B14F-4D97-AF65-F5344CB8AC3E}">
        <p14:creationId xmlns:p14="http://schemas.microsoft.com/office/powerpoint/2010/main" val="5364435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>
            <a:extLst>
              <a:ext uri="{FF2B5EF4-FFF2-40B4-BE49-F238E27FC236}">
                <a16:creationId xmlns:a16="http://schemas.microsoft.com/office/drawing/2014/main" id="{58C86718-AC0C-CD84-C149-A167E3F65C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37952" y="1045704"/>
            <a:ext cx="5116093" cy="2098018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bn-IN" altLang="en-US" sz="138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inherit"/>
                <a:cs typeface="Vrinda" panose="020B0502040204020203" pitchFamily="34" charset="0"/>
              </a:rPr>
              <a:t>ধন্যবাদ</a:t>
            </a:r>
            <a:endParaRPr kumimoji="0" lang="en-US" altLang="en-US" sz="115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027" name="Picture 3" descr="Is there a symbol for the word Namaste? - Quora">
            <a:extLst>
              <a:ext uri="{FF2B5EF4-FFF2-40B4-BE49-F238E27FC236}">
                <a16:creationId xmlns:a16="http://schemas.microsoft.com/office/drawing/2014/main" id="{5361C444-B4E6-F947-AE56-4FE10B3C18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0637" y="3143722"/>
            <a:ext cx="1990725" cy="2295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96110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72100E8-52B1-3F03-EFA3-3219D3D6970C}"/>
              </a:ext>
            </a:extLst>
          </p:cNvPr>
          <p:cNvSpPr txBox="1"/>
          <p:nvPr/>
        </p:nvSpPr>
        <p:spPr>
          <a:xfrm>
            <a:off x="1360449" y="256477"/>
            <a:ext cx="9177453" cy="861774"/>
          </a:xfrm>
          <a:prstGeom prst="rect">
            <a:avLst/>
          </a:prstGeom>
          <a:noFill/>
        </p:spPr>
        <p:txBody>
          <a:bodyPr wrap="square" tIns="91440" bIns="91440" rtlCol="0">
            <a:spAutoFit/>
          </a:bodyPr>
          <a:lstStyle>
            <a:defPPr>
              <a:defRPr lang="en-US"/>
            </a:defPPr>
            <a:lvl1pPr algn="ctr"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 NTP Bangladesh 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C68A92D-FC7A-2588-A335-296753518F5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dirty="0">
                <a:cs typeface="Times New Roman" panose="02020603050405020304" pitchFamily="18" charset="0"/>
              </a:rPr>
              <a:t>Program Policy Decis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dirty="0">
                <a:cs typeface="Times New Roman" panose="02020603050405020304" pitchFamily="18" charset="0"/>
              </a:rPr>
              <a:t>Guidan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cs typeface="Times New Roman" panose="02020603050405020304" pitchFamily="18" charset="0"/>
              </a:rPr>
              <a:t>Provide training</a:t>
            </a:r>
            <a:endParaRPr lang="en-IN" dirty="0"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dirty="0">
                <a:cs typeface="Times New Roman" panose="02020603050405020304" pitchFamily="18" charset="0"/>
              </a:rPr>
              <a:t>Support divisions and sites in implementation of testing, procuring and suppling equipment, consumables and reag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dirty="0">
                <a:cs typeface="Times New Roman" panose="02020603050405020304" pitchFamily="18" charset="0"/>
              </a:rPr>
              <a:t>Program monitoring including implementation of EQA PT round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44693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8967F5-1173-A1BA-861A-7F76554857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66BDDDB-964E-6331-B854-5542245C471C}"/>
              </a:ext>
            </a:extLst>
          </p:cNvPr>
          <p:cNvSpPr txBox="1"/>
          <p:nvPr/>
        </p:nvSpPr>
        <p:spPr>
          <a:xfrm>
            <a:off x="1360449" y="256477"/>
            <a:ext cx="9177453" cy="861774"/>
          </a:xfrm>
          <a:prstGeom prst="rect">
            <a:avLst/>
          </a:prstGeom>
          <a:noFill/>
        </p:spPr>
        <p:txBody>
          <a:bodyPr wrap="square" tIns="91440" bIns="91440" rtlCol="0">
            <a:spAutoFit/>
          </a:bodyPr>
          <a:lstStyle>
            <a:defPPr>
              <a:defRPr lang="en-US"/>
            </a:defPPr>
            <a:lvl1pPr algn="ctr"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T Provider (NIRT Chennai) 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15A0F9-8A87-80D7-23E6-45D94D8326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anufacturing of mWRD EQA PT Panels using CDC’s dried tube specimen (DTS) technology</a:t>
            </a:r>
          </a:p>
          <a:p>
            <a:r>
              <a:rPr lang="en-US" dirty="0"/>
              <a:t>Dispatch of panels to NTP Bangladesh </a:t>
            </a:r>
          </a:p>
          <a:p>
            <a:r>
              <a:rPr lang="en-US" dirty="0"/>
              <a:t>Provide technical assistance in EQA implementation activities</a:t>
            </a:r>
          </a:p>
          <a:p>
            <a:r>
              <a:rPr lang="en-US" dirty="0"/>
              <a:t>Collection and analysis of EQA data</a:t>
            </a:r>
          </a:p>
          <a:p>
            <a:r>
              <a:rPr lang="en-US" dirty="0"/>
              <a:t>Release PT performance evaluation report to individual sites </a:t>
            </a:r>
          </a:p>
          <a:p>
            <a:r>
              <a:rPr lang="en-US" dirty="0"/>
              <a:t>Prepare report of PT round</a:t>
            </a:r>
          </a:p>
          <a:p>
            <a:pPr lvl="1"/>
            <a:r>
              <a:rPr lang="en-US" dirty="0"/>
              <a:t>Division wise report </a:t>
            </a:r>
          </a:p>
          <a:p>
            <a:pPr lvl="1"/>
            <a:r>
              <a:rPr lang="en-US" dirty="0"/>
              <a:t>Final report </a:t>
            </a:r>
          </a:p>
          <a:p>
            <a:r>
              <a:rPr lang="en-US" dirty="0"/>
              <a:t>Support in post EQA desk review</a:t>
            </a:r>
          </a:p>
        </p:txBody>
      </p:sp>
    </p:spTree>
    <p:extLst>
      <p:ext uri="{BB962C8B-B14F-4D97-AF65-F5344CB8AC3E}">
        <p14:creationId xmlns:p14="http://schemas.microsoft.com/office/powerpoint/2010/main" val="1705966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25FB79-AA7E-0F50-E56C-E9765070E3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98BD6DB-AB33-E49B-6023-A058A2189F6B}"/>
              </a:ext>
            </a:extLst>
          </p:cNvPr>
          <p:cNvSpPr txBox="1"/>
          <p:nvPr/>
        </p:nvSpPr>
        <p:spPr>
          <a:xfrm>
            <a:off x="1360449" y="256477"/>
            <a:ext cx="9177453" cy="861774"/>
          </a:xfrm>
          <a:prstGeom prst="rect">
            <a:avLst/>
          </a:prstGeom>
          <a:noFill/>
        </p:spPr>
        <p:txBody>
          <a:bodyPr wrap="square" tIns="91440" bIns="91440" rtlCol="0">
            <a:spAutoFit/>
          </a:bodyPr>
          <a:lstStyle>
            <a:defPPr>
              <a:defRPr lang="en-US"/>
            </a:defPPr>
            <a:lvl1pPr algn="ctr"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FIND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6AF3319-C6C8-3304-7CD3-3DA7D9008F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2709" y="1508125"/>
            <a:ext cx="11383485" cy="4591050"/>
          </a:xfrm>
        </p:spPr>
        <p:txBody>
          <a:bodyPr/>
          <a:lstStyle/>
          <a:p>
            <a:r>
              <a:rPr lang="en-US" dirty="0"/>
              <a:t>Procurement of consumables required for mWRD EQA PT panel preparation</a:t>
            </a:r>
          </a:p>
          <a:p>
            <a:r>
              <a:rPr lang="en-US" dirty="0"/>
              <a:t>Development of NAAT EQA portal in consultation with NIRT Chennai  </a:t>
            </a:r>
          </a:p>
          <a:p>
            <a:r>
              <a:rPr lang="en-US" dirty="0"/>
              <a:t>Technical support in manufacturing of mWRD EQA PT Panels using CDC’s dried tube specimen (DTS) technology</a:t>
            </a:r>
          </a:p>
          <a:p>
            <a:r>
              <a:rPr lang="en-US" dirty="0"/>
              <a:t>Support in dispatch of panels to NTP Bangladesh </a:t>
            </a:r>
          </a:p>
          <a:p>
            <a:r>
              <a:rPr lang="en-US" dirty="0"/>
              <a:t>Preparation of guidance documents towards mWRD EQA</a:t>
            </a:r>
          </a:p>
          <a:p>
            <a:r>
              <a:rPr lang="en-US" dirty="0"/>
              <a:t>Support in conducting mWRD EQA orientation meeting</a:t>
            </a:r>
          </a:p>
          <a:p>
            <a:r>
              <a:rPr lang="en-US" dirty="0"/>
              <a:t>Support in collection and analysis of EQA data through NAAT EQA portal </a:t>
            </a:r>
          </a:p>
          <a:p>
            <a:r>
              <a:rPr lang="en-US" dirty="0"/>
              <a:t>Support in preparation of report for PT round</a:t>
            </a:r>
          </a:p>
          <a:p>
            <a:pPr lvl="1"/>
            <a:r>
              <a:rPr lang="en-US" dirty="0"/>
              <a:t>Division wise report </a:t>
            </a:r>
          </a:p>
          <a:p>
            <a:pPr lvl="1"/>
            <a:r>
              <a:rPr lang="en-US" dirty="0"/>
              <a:t>Final report </a:t>
            </a:r>
          </a:p>
          <a:p>
            <a:r>
              <a:rPr lang="en-US" dirty="0"/>
              <a:t>Support in post EQA desk review and repeat panel testing</a:t>
            </a:r>
          </a:p>
        </p:txBody>
      </p:sp>
    </p:spTree>
    <p:extLst>
      <p:ext uri="{BB962C8B-B14F-4D97-AF65-F5344CB8AC3E}">
        <p14:creationId xmlns:p14="http://schemas.microsoft.com/office/powerpoint/2010/main" val="41924963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23E0327-3D0D-13BF-30D4-1AEB743FCBCE}"/>
              </a:ext>
            </a:extLst>
          </p:cNvPr>
          <p:cNvSpPr txBox="1"/>
          <p:nvPr/>
        </p:nvSpPr>
        <p:spPr>
          <a:xfrm>
            <a:off x="1360449" y="256477"/>
            <a:ext cx="9177453" cy="769441"/>
          </a:xfrm>
          <a:prstGeom prst="rect">
            <a:avLst/>
          </a:prstGeom>
          <a:noFill/>
        </p:spPr>
        <p:txBody>
          <a:bodyPr wrap="square" tIns="91440" bIns="91440" rtlCol="0">
            <a:spAutoFit/>
          </a:bodyPr>
          <a:lstStyle/>
          <a:p>
            <a:pPr algn="ctr"/>
            <a:r>
              <a:rPr lang="en-US" sz="3800" b="1" dirty="0">
                <a:solidFill>
                  <a:schemeClr val="accent1"/>
                </a:solidFill>
              </a:rPr>
              <a:t>National Reference Laboratory - NTRL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4B5B059-F64C-70A3-2FC8-E9F5F7E9B443}"/>
              </a:ext>
            </a:extLst>
          </p:cNvPr>
          <p:cNvSpPr txBox="1"/>
          <p:nvPr/>
        </p:nvSpPr>
        <p:spPr>
          <a:xfrm>
            <a:off x="530942" y="1493853"/>
            <a:ext cx="11135031" cy="48197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</a:pPr>
            <a:r>
              <a:rPr lang="en-US" sz="2400" spc="100" dirty="0">
                <a:solidFill>
                  <a:srgbClr val="4C5B68"/>
                </a:solidFill>
              </a:rPr>
              <a:t>Provide training</a:t>
            </a:r>
          </a:p>
          <a:p>
            <a:pPr marL="274638" lvl="1" indent="-274638" fontAlgn="base">
              <a:spcBef>
                <a:spcPct val="20000"/>
              </a:spcBef>
              <a:spcAft>
                <a:spcPct val="0"/>
              </a:spcAft>
              <a:buClr>
                <a:srgbClr val="5A2259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rgbClr val="5A2259"/>
                </a:solidFill>
                <a:latin typeface="Franklin Gothic Medium" panose="020B0603020102020204" pitchFamily="34" charset="0"/>
              </a:rPr>
              <a:t>Including on site hand holding &amp; guidance to RTRL team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</a:pPr>
            <a:endParaRPr lang="en-US" sz="2400" spc="100" dirty="0">
              <a:solidFill>
                <a:srgbClr val="4C5B68"/>
              </a:solidFill>
            </a:endParaRP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</a:pPr>
            <a:r>
              <a:rPr lang="en-US" sz="2400" spc="100" dirty="0">
                <a:solidFill>
                  <a:srgbClr val="4C5B68"/>
                </a:solidFill>
              </a:rPr>
              <a:t>Monitor monthly mWRD indicators’ data </a:t>
            </a:r>
          </a:p>
          <a:p>
            <a:pPr marL="274638" lvl="1" indent="-274638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5A2259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rgbClr val="5A2259"/>
                </a:solidFill>
                <a:latin typeface="Franklin Gothic Medium" panose="020B0603020102020204" pitchFamily="34" charset="0"/>
              </a:rPr>
              <a:t>Collect, compile and analyze the data</a:t>
            </a:r>
          </a:p>
          <a:p>
            <a:pPr marL="274638" lvl="1" indent="-274638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5A2259"/>
              </a:buClr>
              <a:buFont typeface="Wingdings" panose="05000000000000000000" pitchFamily="2" charset="2"/>
              <a:buChar char="§"/>
            </a:pPr>
            <a:r>
              <a:rPr lang="en-IN" sz="2000" dirty="0">
                <a:solidFill>
                  <a:srgbClr val="5A2259"/>
                </a:solidFill>
                <a:latin typeface="Franklin Gothic Medium" panose="020B0603020102020204" pitchFamily="34" charset="0"/>
              </a:rPr>
              <a:t>Monitor the performance of mWRD sites in coordination with RTRL</a:t>
            </a:r>
          </a:p>
          <a:p>
            <a:pPr marL="274638" lvl="1" indent="-274638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5A2259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rgbClr val="5A2259"/>
                </a:solidFill>
                <a:latin typeface="Franklin Gothic Medium" panose="020B0603020102020204" pitchFamily="34" charset="0"/>
              </a:rPr>
              <a:t>Provide feedback on analyzed data to the RTRLs</a:t>
            </a:r>
          </a:p>
          <a:p>
            <a:pPr marL="274638" lvl="1" indent="-274638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5A2259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rgbClr val="5A2259"/>
                </a:solidFill>
                <a:latin typeface="Franklin Gothic Medium" panose="020B0603020102020204" pitchFamily="34" charset="0"/>
              </a:rPr>
              <a:t>Send periodic reports to NTP</a:t>
            </a:r>
          </a:p>
          <a:p>
            <a:pPr marL="274638" lvl="1" indent="-274638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5A2259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rgbClr val="5A2259"/>
                </a:solidFill>
                <a:latin typeface="Franklin Gothic Medium" panose="020B0603020102020204" pitchFamily="34" charset="0"/>
              </a:rPr>
              <a:t>Escalate issues to higher level which are not getting resolved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</a:pPr>
            <a:endParaRPr lang="en-US" sz="2400" spc="100" dirty="0">
              <a:solidFill>
                <a:srgbClr val="4C5B68"/>
              </a:solidFill>
            </a:endParaRP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</a:pPr>
            <a:r>
              <a:rPr lang="en-US" sz="2400" spc="100" dirty="0">
                <a:solidFill>
                  <a:srgbClr val="4C5B68"/>
                </a:solidFill>
              </a:rPr>
              <a:t>Monitor use of consumables and logistics, and timely calibration of NAAT equipment</a:t>
            </a:r>
          </a:p>
        </p:txBody>
      </p:sp>
    </p:spTree>
    <p:extLst>
      <p:ext uri="{BB962C8B-B14F-4D97-AF65-F5344CB8AC3E}">
        <p14:creationId xmlns:p14="http://schemas.microsoft.com/office/powerpoint/2010/main" val="30506678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0010D4-BB08-A8EB-5B95-F74A06B317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9630FED-468F-904A-EF0A-C64E0EFE6890}"/>
              </a:ext>
            </a:extLst>
          </p:cNvPr>
          <p:cNvSpPr txBox="1"/>
          <p:nvPr/>
        </p:nvSpPr>
        <p:spPr>
          <a:xfrm>
            <a:off x="1360449" y="256477"/>
            <a:ext cx="9177453" cy="769441"/>
          </a:xfrm>
          <a:prstGeom prst="rect">
            <a:avLst/>
          </a:prstGeom>
          <a:noFill/>
        </p:spPr>
        <p:txBody>
          <a:bodyPr wrap="square" tIns="91440" bIns="91440" rtlCol="0">
            <a:spAutoFit/>
          </a:bodyPr>
          <a:lstStyle/>
          <a:p>
            <a:pPr algn="ctr"/>
            <a:r>
              <a:rPr lang="en-US" sz="3800" b="1" dirty="0">
                <a:solidFill>
                  <a:schemeClr val="accent1"/>
                </a:solidFill>
              </a:rPr>
              <a:t>National Reference Laboratory - NTRL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BB65A52-1879-5190-947F-5B79B5616A1F}"/>
              </a:ext>
            </a:extLst>
          </p:cNvPr>
          <p:cNvSpPr txBox="1"/>
          <p:nvPr/>
        </p:nvSpPr>
        <p:spPr>
          <a:xfrm>
            <a:off x="519512" y="1467675"/>
            <a:ext cx="11135031" cy="40934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IN" sz="2400" spc="100" dirty="0">
                <a:solidFill>
                  <a:srgbClr val="4C5B68"/>
                </a:solidFill>
              </a:rPr>
              <a:t>On site evaluation visits to mWRD sites in coordination with RTRL</a:t>
            </a:r>
          </a:p>
          <a:p>
            <a:pPr marL="274638" lvl="1" indent="-274638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5A2259"/>
              </a:buClr>
              <a:buFont typeface="Wingdings" panose="05000000000000000000" pitchFamily="2" charset="2"/>
              <a:buChar char="§"/>
            </a:pPr>
            <a:r>
              <a:rPr lang="en-IN" sz="2000" dirty="0">
                <a:solidFill>
                  <a:srgbClr val="5A2259"/>
                </a:solidFill>
                <a:latin typeface="Franklin Gothic Medium" panose="020B0603020102020204" pitchFamily="34" charset="0"/>
              </a:rPr>
              <a:t>Provide guidance for trouble shooting</a:t>
            </a:r>
          </a:p>
          <a:p>
            <a:endParaRPr lang="en-IN" sz="2400" spc="100" dirty="0">
              <a:solidFill>
                <a:srgbClr val="4C5B68"/>
              </a:solidFill>
            </a:endParaRPr>
          </a:p>
          <a:p>
            <a:r>
              <a:rPr lang="en-IN" sz="2400" spc="100" dirty="0">
                <a:solidFill>
                  <a:srgbClr val="4C5B68"/>
                </a:solidFill>
              </a:rPr>
              <a:t>Support in conduct of PT round</a:t>
            </a:r>
          </a:p>
          <a:p>
            <a:pPr marL="274638" lvl="1" indent="-274638" fontAlgn="base">
              <a:spcBef>
                <a:spcPct val="20000"/>
              </a:spcBef>
              <a:spcAft>
                <a:spcPct val="0"/>
              </a:spcAft>
              <a:buClr>
                <a:srgbClr val="5A2259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rgbClr val="5A2259"/>
                </a:solidFill>
                <a:latin typeface="Franklin Gothic Medium" panose="020B0603020102020204" pitchFamily="34" charset="0"/>
              </a:rPr>
              <a:t>Participate in PT round</a:t>
            </a:r>
          </a:p>
          <a:p>
            <a:pPr marL="274638" lvl="1" indent="-274638" fontAlgn="base">
              <a:spcBef>
                <a:spcPct val="20000"/>
              </a:spcBef>
              <a:spcAft>
                <a:spcPct val="0"/>
              </a:spcAft>
              <a:buClr>
                <a:srgbClr val="5A2259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rgbClr val="5A2259"/>
                </a:solidFill>
                <a:latin typeface="Franklin Gothic Medium" panose="020B0603020102020204" pitchFamily="34" charset="0"/>
              </a:rPr>
              <a:t>Support RTRLs in </a:t>
            </a:r>
            <a:r>
              <a:rPr lang="en-IN" sz="2000" dirty="0">
                <a:solidFill>
                  <a:srgbClr val="5A2259"/>
                </a:solidFill>
                <a:latin typeface="Franklin Gothic Medium" panose="020B0603020102020204" pitchFamily="34" charset="0"/>
              </a:rPr>
              <a:t>orienting their mWRD sites on preparations for EQA round</a:t>
            </a:r>
          </a:p>
          <a:p>
            <a:pPr marL="274638" lvl="1" indent="-274638" fontAlgn="base">
              <a:spcBef>
                <a:spcPct val="20000"/>
              </a:spcBef>
              <a:spcAft>
                <a:spcPct val="0"/>
              </a:spcAft>
              <a:buClr>
                <a:srgbClr val="5A2259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rgbClr val="5A2259"/>
                </a:solidFill>
                <a:latin typeface="Franklin Gothic Medium" panose="020B0603020102020204" pitchFamily="34" charset="0"/>
              </a:rPr>
              <a:t>Monitor progress of mWRD EQA PT round and cross check quality of data from RTRLs</a:t>
            </a:r>
          </a:p>
          <a:p>
            <a:pPr marL="274638" lvl="1" indent="-274638" fontAlgn="base">
              <a:spcBef>
                <a:spcPct val="20000"/>
              </a:spcBef>
              <a:spcAft>
                <a:spcPct val="0"/>
              </a:spcAft>
              <a:buClr>
                <a:srgbClr val="5A2259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rgbClr val="5A2259"/>
                </a:solidFill>
                <a:latin typeface="Franklin Gothic Medium" panose="020B0603020102020204" pitchFamily="34" charset="0"/>
              </a:rPr>
              <a:t>Carry out post EQA site visit in coordination with RTRLs</a:t>
            </a:r>
          </a:p>
          <a:p>
            <a:pPr marL="274638" lvl="1" indent="-274638" fontAlgn="base">
              <a:spcBef>
                <a:spcPct val="20000"/>
              </a:spcBef>
              <a:spcAft>
                <a:spcPct val="0"/>
              </a:spcAft>
              <a:buClr>
                <a:srgbClr val="5A2259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rgbClr val="5A2259"/>
                </a:solidFill>
                <a:latin typeface="Franklin Gothic Medium" panose="020B0603020102020204" pitchFamily="34" charset="0"/>
              </a:rPr>
              <a:t>Tracking, follow up with RTRL’s and assist to resolve the issues which were found in mWRD EQA implementation </a:t>
            </a:r>
          </a:p>
          <a:p>
            <a:pPr marL="274638" lvl="1" indent="-274638" fontAlgn="base">
              <a:spcBef>
                <a:spcPct val="20000"/>
              </a:spcBef>
              <a:spcAft>
                <a:spcPct val="0"/>
              </a:spcAft>
              <a:buClr>
                <a:srgbClr val="5A2259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rgbClr val="5A2259"/>
                </a:solidFill>
                <a:latin typeface="Franklin Gothic Medium" panose="020B0603020102020204" pitchFamily="34" charset="0"/>
              </a:rPr>
              <a:t> Prepare the report about resolution of NC’s and action plans to NTP</a:t>
            </a:r>
          </a:p>
        </p:txBody>
      </p:sp>
    </p:spTree>
    <p:extLst>
      <p:ext uri="{BB962C8B-B14F-4D97-AF65-F5344CB8AC3E}">
        <p14:creationId xmlns:p14="http://schemas.microsoft.com/office/powerpoint/2010/main" val="784015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76A348-19D5-3949-45D5-13649077D5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282DEC9-3E55-B629-225F-C4F9204F168F}"/>
              </a:ext>
            </a:extLst>
          </p:cNvPr>
          <p:cNvSpPr txBox="1"/>
          <p:nvPr/>
        </p:nvSpPr>
        <p:spPr>
          <a:xfrm>
            <a:off x="1360449" y="256477"/>
            <a:ext cx="9177453" cy="769441"/>
          </a:xfrm>
          <a:prstGeom prst="rect">
            <a:avLst/>
          </a:prstGeom>
          <a:noFill/>
        </p:spPr>
        <p:txBody>
          <a:bodyPr wrap="square" tIns="91440" bIns="91440" rtlCol="0">
            <a:spAutoFit/>
          </a:bodyPr>
          <a:lstStyle/>
          <a:p>
            <a:pPr algn="ctr"/>
            <a:r>
              <a:rPr lang="en-US" sz="3800" b="1" dirty="0">
                <a:solidFill>
                  <a:schemeClr val="accent1"/>
                </a:solidFill>
              </a:rPr>
              <a:t>Regional Reference Laboratory - RTRL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4777EB3-60C9-709F-047A-476694BB3ACE}"/>
              </a:ext>
            </a:extLst>
          </p:cNvPr>
          <p:cNvSpPr txBox="1"/>
          <p:nvPr/>
        </p:nvSpPr>
        <p:spPr>
          <a:xfrm>
            <a:off x="332822" y="1582341"/>
            <a:ext cx="11417218" cy="45858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spc="100" dirty="0">
                <a:solidFill>
                  <a:srgbClr val="4C5B68"/>
                </a:solidFill>
              </a:rPr>
              <a:t>Provide</a:t>
            </a:r>
            <a:r>
              <a:rPr lang="en-US" sz="2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spc="100" dirty="0">
                <a:solidFill>
                  <a:srgbClr val="4C5B68"/>
                </a:solidFill>
              </a:rPr>
              <a:t>Training</a:t>
            </a:r>
          </a:p>
          <a:p>
            <a:pPr marL="274638" lvl="1" indent="-274638" fontAlgn="base">
              <a:spcBef>
                <a:spcPct val="20000"/>
              </a:spcBef>
              <a:spcAft>
                <a:spcPct val="0"/>
              </a:spcAft>
              <a:buClr>
                <a:srgbClr val="5A2259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rgbClr val="5A22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nds on mWRD (GeneXpert &amp; Truenat) training</a:t>
            </a:r>
          </a:p>
          <a:p>
            <a:endParaRPr lang="en-US" sz="2400" spc="100" dirty="0">
              <a:solidFill>
                <a:srgbClr val="4C5B68"/>
              </a:solidFill>
            </a:endParaRPr>
          </a:p>
          <a:p>
            <a:r>
              <a:rPr lang="en-US" sz="2400" spc="100" dirty="0">
                <a:solidFill>
                  <a:srgbClr val="4C5B68"/>
                </a:solidFill>
              </a:rPr>
              <a:t>Monitor monthly indicators’ data </a:t>
            </a:r>
          </a:p>
          <a:p>
            <a:pPr marL="274638" lvl="1" indent="-274638" fontAlgn="base">
              <a:spcBef>
                <a:spcPct val="20000"/>
              </a:spcBef>
              <a:spcAft>
                <a:spcPct val="0"/>
              </a:spcAft>
              <a:buClr>
                <a:srgbClr val="5A2259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rgbClr val="5A22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ect, compile and analyze the data</a:t>
            </a:r>
          </a:p>
          <a:p>
            <a:pPr marL="274638" lvl="1" indent="-274638" fontAlgn="base">
              <a:spcBef>
                <a:spcPct val="20000"/>
              </a:spcBef>
              <a:spcAft>
                <a:spcPct val="0"/>
              </a:spcAft>
              <a:buClr>
                <a:srgbClr val="5A2259"/>
              </a:buClr>
              <a:buFont typeface="Wingdings" panose="05000000000000000000" pitchFamily="2" charset="2"/>
              <a:buChar char="§"/>
            </a:pPr>
            <a:r>
              <a:rPr lang="en-IN" sz="2000" dirty="0">
                <a:solidFill>
                  <a:srgbClr val="5A22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itor the performance of mWRD site in coordination with DSMOs and EQA controllers </a:t>
            </a:r>
          </a:p>
          <a:p>
            <a:pPr marL="274638" lvl="1" indent="-274638" fontAlgn="base">
              <a:spcBef>
                <a:spcPct val="20000"/>
              </a:spcBef>
              <a:spcAft>
                <a:spcPct val="0"/>
              </a:spcAft>
              <a:buClr>
                <a:srgbClr val="5A2259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rgbClr val="5A22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de feedback to mWRD sites on analyzed data</a:t>
            </a:r>
          </a:p>
          <a:p>
            <a:pPr marL="274638" lvl="1" indent="-274638" fontAlgn="base">
              <a:spcBef>
                <a:spcPct val="20000"/>
              </a:spcBef>
              <a:spcAft>
                <a:spcPct val="0"/>
              </a:spcAft>
              <a:buClr>
                <a:srgbClr val="5A2259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rgbClr val="5A22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d periodic reports to NTP (M&amp;E section) </a:t>
            </a:r>
          </a:p>
          <a:p>
            <a:pPr marL="274638" lvl="1" indent="-274638" fontAlgn="base">
              <a:spcBef>
                <a:spcPct val="20000"/>
              </a:spcBef>
              <a:spcAft>
                <a:spcPct val="0"/>
              </a:spcAft>
              <a:buClr>
                <a:srgbClr val="5A2259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rgbClr val="5A22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calate issues to higher level which are not getting resolved</a:t>
            </a:r>
          </a:p>
          <a:p>
            <a:endParaRPr lang="en-US" sz="2400" spc="100" dirty="0">
              <a:solidFill>
                <a:srgbClr val="4C5B68"/>
              </a:solidFill>
            </a:endParaRPr>
          </a:p>
          <a:p>
            <a:r>
              <a:rPr lang="en-US" sz="2400" spc="100" dirty="0">
                <a:solidFill>
                  <a:srgbClr val="4C5B68"/>
                </a:solidFill>
              </a:rPr>
              <a:t>Monitor use of consumables and logistics, and timely calibration of NAAT equipment </a:t>
            </a:r>
          </a:p>
        </p:txBody>
      </p:sp>
    </p:spTree>
    <p:extLst>
      <p:ext uri="{BB962C8B-B14F-4D97-AF65-F5344CB8AC3E}">
        <p14:creationId xmlns:p14="http://schemas.microsoft.com/office/powerpoint/2010/main" val="38886933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5CF2BF8-B024-26D7-BC9A-6242C5016D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2709" y="1359534"/>
            <a:ext cx="11068539" cy="5075555"/>
          </a:xfrm>
        </p:spPr>
        <p:txBody>
          <a:bodyPr/>
          <a:lstStyle/>
          <a:p>
            <a:r>
              <a:rPr lang="en-IN" dirty="0"/>
              <a:t>On site evaluation visits to mWRD sites in coordination with DSMO &amp; Divisional TB Experts </a:t>
            </a:r>
          </a:p>
          <a:p>
            <a:pPr lvl="1"/>
            <a:r>
              <a:rPr lang="en-IN" dirty="0">
                <a:latin typeface="Arial" panose="020B0604020202020204" pitchFamily="34" charset="0"/>
                <a:cs typeface="Arial" panose="020B0604020202020204" pitchFamily="34" charset="0"/>
              </a:rPr>
              <a:t>Provide guidance for trouble shooting</a:t>
            </a:r>
          </a:p>
          <a:p>
            <a:endParaRPr lang="en-IN" dirty="0"/>
          </a:p>
          <a:p>
            <a:r>
              <a:rPr lang="en-IN" dirty="0"/>
              <a:t>Support in conducting PT round </a:t>
            </a:r>
          </a:p>
          <a:p>
            <a:pPr lvl="1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articipate in PT round</a:t>
            </a:r>
          </a:p>
          <a:p>
            <a:pPr lvl="1"/>
            <a:r>
              <a:rPr lang="en-IN" dirty="0">
                <a:latin typeface="Arial" panose="020B0604020202020204" pitchFamily="34" charset="0"/>
                <a:cs typeface="Arial" panose="020B0604020202020204" pitchFamily="34" charset="0"/>
              </a:rPr>
              <a:t>Facilitate orienting their mWRD sites on preparations for EQA round</a:t>
            </a:r>
          </a:p>
          <a:p>
            <a:pPr lvl="1"/>
            <a:r>
              <a:rPr lang="en-IN" dirty="0">
                <a:latin typeface="Arial" panose="020B0604020202020204" pitchFamily="34" charset="0"/>
                <a:cs typeface="Arial" panose="020B0604020202020204" pitchFamily="34" charset="0"/>
              </a:rPr>
              <a:t>Update the mWRD site details, Guide mWRD sites on EQA activity</a:t>
            </a:r>
          </a:p>
          <a:p>
            <a:pPr lvl="1"/>
            <a:r>
              <a:rPr lang="en-IN" dirty="0">
                <a:latin typeface="Arial" panose="020B0604020202020204" pitchFamily="34" charset="0"/>
                <a:cs typeface="Arial" panose="020B0604020202020204" pitchFamily="34" charset="0"/>
              </a:rPr>
              <a:t>Ensure EQA data submission by the sites and cross check</a:t>
            </a:r>
          </a:p>
          <a:p>
            <a:pPr lvl="1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arry out post EQA site visit in coordination with NTRL </a:t>
            </a:r>
          </a:p>
          <a:p>
            <a:pPr lvl="1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rack, follow up and assist mWRD sites to resolve the issues which were found in NAAT EQA implementation </a:t>
            </a:r>
          </a:p>
          <a:p>
            <a:pPr lvl="1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epare divisional/ RTRL level report about resolution of NC’s along with action plan.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59B3DB9-1572-3AA7-6329-F5C6BCE1B8DB}"/>
              </a:ext>
            </a:extLst>
          </p:cNvPr>
          <p:cNvSpPr txBox="1"/>
          <p:nvPr/>
        </p:nvSpPr>
        <p:spPr>
          <a:xfrm>
            <a:off x="1360449" y="256477"/>
            <a:ext cx="9177453" cy="769441"/>
          </a:xfrm>
          <a:prstGeom prst="rect">
            <a:avLst/>
          </a:prstGeom>
          <a:noFill/>
        </p:spPr>
        <p:txBody>
          <a:bodyPr wrap="square" tIns="91440" bIns="91440" rtlCol="0">
            <a:spAutoFit/>
          </a:bodyPr>
          <a:lstStyle/>
          <a:p>
            <a:pPr algn="ctr"/>
            <a:r>
              <a:rPr lang="en-US" sz="3800" b="1" dirty="0">
                <a:solidFill>
                  <a:schemeClr val="accent1"/>
                </a:solidFill>
              </a:rPr>
              <a:t>Regional Reference Laboratory - RTRL </a:t>
            </a:r>
          </a:p>
        </p:txBody>
      </p:sp>
    </p:spTree>
    <p:extLst>
      <p:ext uri="{BB962C8B-B14F-4D97-AF65-F5344CB8AC3E}">
        <p14:creationId xmlns:p14="http://schemas.microsoft.com/office/powerpoint/2010/main" val="37111048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71E8631-2ED7-EAA1-9F91-80F040DA4E4D}"/>
              </a:ext>
            </a:extLst>
          </p:cNvPr>
          <p:cNvSpPr txBox="1"/>
          <p:nvPr/>
        </p:nvSpPr>
        <p:spPr>
          <a:xfrm>
            <a:off x="1354850" y="320858"/>
            <a:ext cx="9177453" cy="677108"/>
          </a:xfrm>
          <a:prstGeom prst="rect">
            <a:avLst/>
          </a:prstGeom>
          <a:noFill/>
        </p:spPr>
        <p:txBody>
          <a:bodyPr wrap="square" tIns="91440" bIns="91440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accent1"/>
                </a:solidFill>
              </a:rPr>
              <a:t>Divisional TB Expert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6DF9022-77E9-2B93-B477-EF84EACA78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N" dirty="0"/>
              <a:t>Overall monitoring and supervision of mWRD sites in the division</a:t>
            </a:r>
          </a:p>
          <a:p>
            <a:pPr lvl="1"/>
            <a:r>
              <a:rPr lang="en-IN" dirty="0"/>
              <a:t>Ensuring all sites are functional and monitor calibration of equipment</a:t>
            </a:r>
          </a:p>
          <a:p>
            <a:pPr lvl="1"/>
            <a:r>
              <a:rPr lang="en-IN" dirty="0"/>
              <a:t>Ensuring consumables and logistics are available</a:t>
            </a:r>
          </a:p>
          <a:p>
            <a:pPr lvl="1"/>
            <a:r>
              <a:rPr lang="en-IN" dirty="0"/>
              <a:t>All sites are adequately staffed with trained manpower</a:t>
            </a:r>
          </a:p>
          <a:p>
            <a:pPr lvl="1"/>
            <a:r>
              <a:rPr lang="en-IN" dirty="0"/>
              <a:t>Coordination at higher level if issues are not resolved</a:t>
            </a:r>
          </a:p>
          <a:p>
            <a:pPr lvl="1"/>
            <a:r>
              <a:rPr lang="en-IN" dirty="0"/>
              <a:t>Supporting RTRL’s for monitoring &amp; training activities</a:t>
            </a:r>
          </a:p>
          <a:p>
            <a:pPr lvl="1"/>
            <a:r>
              <a:rPr lang="en-IN" dirty="0"/>
              <a:t>Encouraging new sites to participate in programme</a:t>
            </a:r>
          </a:p>
          <a:p>
            <a:endParaRPr lang="en-IN" dirty="0"/>
          </a:p>
          <a:p>
            <a:r>
              <a:rPr lang="en-IN" dirty="0"/>
              <a:t>Support in conducting PT round </a:t>
            </a:r>
          </a:p>
          <a:p>
            <a:pPr lvl="1"/>
            <a:r>
              <a:rPr lang="en-US" dirty="0"/>
              <a:t>Under guidance of NTP,  support to monitor progress of the implementation of EQA PT round and do trouble shooting as appropriate</a:t>
            </a:r>
          </a:p>
        </p:txBody>
      </p:sp>
    </p:spTree>
    <p:extLst>
      <p:ext uri="{BB962C8B-B14F-4D97-AF65-F5344CB8AC3E}">
        <p14:creationId xmlns:p14="http://schemas.microsoft.com/office/powerpoint/2010/main" val="16303044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2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EE4P_MASTERWIZARD_MARGINS" val="0"/>
  <p:tag name="EE4P_STYLE_ID" val="KwuiTUoX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oMydtSgFos7l78lxWp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*FIND template*">
  <a:themeElements>
    <a:clrScheme name="*FIND template*">
      <a:dk1>
        <a:srgbClr val="000000"/>
      </a:dk1>
      <a:lt1>
        <a:srgbClr val="FFFFFF"/>
      </a:lt1>
      <a:dk2>
        <a:srgbClr val="43ABB6"/>
      </a:dk2>
      <a:lt2>
        <a:srgbClr val="8C9EAB"/>
      </a:lt2>
      <a:accent1>
        <a:srgbClr val="5A2259"/>
      </a:accent1>
      <a:accent2>
        <a:srgbClr val="43ABB6"/>
      </a:accent2>
      <a:accent3>
        <a:srgbClr val="D3553F"/>
      </a:accent3>
      <a:accent4>
        <a:srgbClr val="8C9EAB"/>
      </a:accent4>
      <a:accent5>
        <a:srgbClr val="B785B7"/>
      </a:accent5>
      <a:accent6>
        <a:srgbClr val="4C5B68"/>
      </a:accent6>
      <a:hlink>
        <a:srgbClr val="8B518B"/>
      </a:hlink>
      <a:folHlink>
        <a:srgbClr val="B785B7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5A2259"/>
        </a:solidFill>
        <a:ln w="9525">
          <a:noFill/>
        </a:ln>
        <a:effectLst/>
      </a:spPr>
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7F7F7F"/>
          </a:solidFill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1440" bIns="91440" rtlCol="0">
        <a:spAutoFit/>
      </a:bodyPr>
      <a:lstStyle>
        <a:defPPr>
          <a:defRPr sz="1400" dirty="0" smtClean="0">
            <a:solidFill>
              <a:srgbClr val="000000"/>
            </a:solidFill>
          </a:defRPr>
        </a:defPPr>
      </a:lstStyle>
    </a:txDef>
  </a:objectDefaults>
  <a:extraClrSchemeLst>
    <a:extraClrScheme>
      <a:clrScheme name="FIND 2017 - 07-2017">
        <a:dk1>
          <a:srgbClr val="000000"/>
        </a:dk1>
        <a:lt1>
          <a:srgbClr val="FFFFFF"/>
        </a:lt1>
        <a:dk2>
          <a:srgbClr val="43ABB6"/>
        </a:dk2>
        <a:lt2>
          <a:srgbClr val="8C9EAB"/>
        </a:lt2>
        <a:accent1>
          <a:srgbClr val="EEF1F2"/>
        </a:accent1>
        <a:accent2>
          <a:srgbClr val="D3F4F7"/>
        </a:accent2>
        <a:accent3>
          <a:srgbClr val="C5CED5"/>
        </a:accent3>
        <a:accent4>
          <a:srgbClr val="4C5B68"/>
        </a:accent4>
        <a:accent5>
          <a:srgbClr val="B785B7"/>
        </a:accent5>
        <a:accent6>
          <a:srgbClr val="5A2259"/>
        </a:accent6>
        <a:hlink>
          <a:srgbClr val="8B518B"/>
        </a:hlink>
        <a:folHlink>
          <a:srgbClr val="B785B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Teal">
      <a:srgbClr val="43ABB6"/>
    </a:custClr>
    <a:custClr name="White">
      <a:srgbClr val="FFFFFF"/>
    </a:custClr>
    <a:custClr name="Black">
      <a:srgbClr val="000000"/>
    </a:custClr>
    <a:custClr name="Light Teal">
      <a:srgbClr val="D3F4F7"/>
    </a:custClr>
    <a:custClr name="Medium Teal">
      <a:srgbClr val="8ED5DC"/>
    </a:custClr>
    <a:custClr name="Dark Teal">
      <a:srgbClr val="307C84"/>
    </a:custClr>
    <a:custClr name="Light Gray">
      <a:srgbClr val="EEF1F2"/>
    </a:custClr>
    <a:custClr name="Medium Gray">
      <a:srgbClr val="C5CED5"/>
    </a:custClr>
    <a:custClr name="Gray">
      <a:srgbClr val="8C9EAB"/>
    </a:custClr>
    <a:custClr name="Dark Gray">
      <a:srgbClr val="4C5B68"/>
    </a:custClr>
    <a:custClr name="Light Purple">
      <a:srgbClr val="F2D6F2"/>
    </a:custClr>
    <a:custClr name="Medium Purple">
      <a:srgbClr val="B785B7"/>
    </a:custClr>
    <a:custClr name="Purple">
      <a:srgbClr val="8B518B"/>
    </a:custClr>
    <a:custClr name="Dark Purple">
      <a:srgbClr val="5A2259"/>
    </a:custClr>
    <a:custClr name="Light Orange">
      <a:srgbClr val="FFE6AF"/>
    </a:custClr>
    <a:custClr name="Medium Orange">
      <a:srgbClr val="FDC569"/>
    </a:custClr>
    <a:custClr name="Orange">
      <a:srgbClr val="F79646"/>
    </a:custClr>
    <a:custClr name="Dark Orange">
      <a:srgbClr val="D3553F"/>
    </a:custClr>
    <a:custClr name="Light Green">
      <a:srgbClr val="DEEFCD"/>
    </a:custClr>
    <a:custClr name="Medium Green">
      <a:srgbClr val="A3C87E"/>
    </a:custClr>
    <a:custClr name="Green">
      <a:srgbClr val="669735"/>
    </a:custClr>
    <a:custClr name="Dark Green">
      <a:srgbClr val="3B680E"/>
    </a:custClr>
    <a:custClr name="Light Blue">
      <a:srgbClr val="D8E7F8"/>
    </a:custClr>
    <a:custClr name="Medium Blue">
      <a:srgbClr val="95BADF"/>
    </a:custClr>
    <a:custClr name="Blue">
      <a:srgbClr val="4580BB"/>
    </a:custClr>
    <a:custClr name="Dark Blue">
      <a:srgbClr val="2F5E8D"/>
    </a:custClr>
    <a:custClr name="Light Brown">
      <a:srgbClr val="F0DCC8"/>
    </a:custClr>
    <a:custClr name="Medium Brown">
      <a:srgbClr val="C89D72"/>
    </a:custClr>
    <a:custClr name="Brown">
      <a:srgbClr val="8F6235"/>
    </a:custClr>
    <a:custClr name="Dark Brown">
      <a:srgbClr val="5F3913"/>
    </a:custClr>
    <a:custClr name="Accent Yellow">
      <a:srgbClr val="FEEC00"/>
    </a:custClr>
    <a:custClr name="Accent Orange">
      <a:srgbClr val="DC6E00"/>
    </a:custClr>
    <a:custClr name="Accent Bright Red">
      <a:srgbClr val="FF0000"/>
    </a:custClr>
    <a:custClr name="Accent Red">
      <a:srgbClr val="C41300"/>
    </a:custClr>
    <a:custClr name="Accent Green">
      <a:srgbClr val="06C245"/>
    </a:custClr>
    <a:custClr name="Accent Blue">
      <a:srgbClr val="008FC8"/>
    </a:custClr>
    <a:custClr name="Accent Violet">
      <a:srgbClr val="CC0099"/>
    </a:custClr>
  </a:custClrLst>
  <a:extLst>
    <a:ext uri="{05A4C25C-085E-4340-85A3-A5531E510DB2}">
      <thm15:themeFamily xmlns:thm15="http://schemas.microsoft.com/office/thememl/2012/main" name="blank.potx" id="{AB4EB1FF-5992-4542-87C8-4624D2AD5E3A}" vid="{86B8886F-6CF6-40DE-BCD3-1A25D72C45F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6E9EF62B87021448D745F43C4B11C16" ma:contentTypeVersion="15" ma:contentTypeDescription="Create a new document." ma:contentTypeScope="" ma:versionID="57fe97b00d2a8810b6fa50ee1ce191fd">
  <xsd:schema xmlns:xsd="http://www.w3.org/2001/XMLSchema" xmlns:xs="http://www.w3.org/2001/XMLSchema" xmlns:p="http://schemas.microsoft.com/office/2006/metadata/properties" xmlns:ns2="5a1bbd72-f46e-43f3-8f72-2623deb0c047" xmlns:ns3="10c4dcad-8d39-4939-b489-2456ead71196" targetNamespace="http://schemas.microsoft.com/office/2006/metadata/properties" ma:root="true" ma:fieldsID="1bf4807efc55adc60f81b37488c3aad2" ns2:_="" ns3:_="">
    <xsd:import namespace="5a1bbd72-f46e-43f3-8f72-2623deb0c047"/>
    <xsd:import namespace="10c4dcad-8d39-4939-b489-2456ead71196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3:SharedWithDetails" minOccurs="0"/>
                <xsd:element ref="ns2:MediaServiceOCR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1bbd72-f46e-43f3-8f72-2623deb0c04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list="UserInfo" ma:SearchPeopleOnly="false" ma:internalName="SharedWithUsers" ma:readOnly="fals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c4dcad-8d39-4939-b489-2456ead71196" elementFormDefault="qualified">
    <xsd:import namespace="http://schemas.microsoft.com/office/2006/documentManagement/types"/>
    <xsd:import namespace="http://schemas.microsoft.com/office/infopath/2007/PartnerControls"/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5a1bbd72-f46e-43f3-8f72-2623deb0c047">
      <UserInfo>
        <DisplayName/>
        <AccountId xsi:nil="true"/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EFAA74BF-4E94-4EEA-8358-953389CCF68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31F6566-C4C6-47C6-8A10-BBB8BB9BEB6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a1bbd72-f46e-43f3-8f72-2623deb0c047"/>
    <ds:schemaRef ds:uri="10c4dcad-8d39-4939-b489-2456ead7119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FF185EE-9726-4FAC-8A8C-F4FF7EEB7FA7}">
  <ds:schemaRefs>
    <ds:schemaRef ds:uri="http://schemas.microsoft.com/office/2006/documentManagement/types"/>
    <ds:schemaRef ds:uri="http://schemas.microsoft.com/office/infopath/2007/PartnerControls"/>
    <ds:schemaRef ds:uri="92297be3-05ad-4194-8456-bf53b0948fb2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  <ds:schemaRef ds:uri="5a1bbd72-f46e-43f3-8f72-2623deb0c047"/>
  </ds:schemaRefs>
</ds:datastoreItem>
</file>

<file path=docMetadata/LabelInfo.xml><?xml version="1.0" encoding="utf-8"?>
<clbl:labelList xmlns:clbl="http://schemas.microsoft.com/office/2020/mipLabelMetadata">
  <clbl:label id="{8277b9de-ec8d-46a4-9b63-4b30e2b6c9a1}" enabled="0" method="" siteId="{8277b9de-ec8d-46a4-9b63-4b30e2b6c9a1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Theme1</Template>
  <TotalTime>11183</TotalTime>
  <Words>913</Words>
  <Application>Microsoft Office PowerPoint</Application>
  <PresentationFormat>Widescreen</PresentationFormat>
  <Paragraphs>124</Paragraphs>
  <Slides>1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3" baseType="lpstr">
      <vt:lpstr>Arial</vt:lpstr>
      <vt:lpstr>Calibri</vt:lpstr>
      <vt:lpstr>Franklin Gothic Book</vt:lpstr>
      <vt:lpstr>Franklin Gothic Medium</vt:lpstr>
      <vt:lpstr>inherit</vt:lpstr>
      <vt:lpstr>Times New Roman</vt:lpstr>
      <vt:lpstr>Trebuchet MS</vt:lpstr>
      <vt:lpstr>Wingdings</vt:lpstr>
      <vt:lpstr>*FIND template*</vt:lpstr>
      <vt:lpstr>think-cell Slide</vt:lpstr>
      <vt:lpstr>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>Genpact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Tiwari, Pradeep</dc:creator>
  <cp:keywords/>
  <dc:description/>
  <cp:lastModifiedBy>Tarak GShah</cp:lastModifiedBy>
  <cp:revision>1269</cp:revision>
  <cp:lastPrinted>2020-10-12T07:52:37Z</cp:lastPrinted>
  <dcterms:created xsi:type="dcterms:W3CDTF">2020-02-13T09:04:23Z</dcterms:created>
  <dcterms:modified xsi:type="dcterms:W3CDTF">2024-12-10T01:37:12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6E9EF62B87021448D745F43C4B11C16</vt:lpwstr>
  </property>
</Properties>
</file>